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48" r:id="rId4"/>
    <p:sldMasterId id="2147483699" r:id="rId5"/>
    <p:sldMasterId id="2147483701" r:id="rId6"/>
  </p:sldMasterIdLst>
  <p:notesMasterIdLst>
    <p:notesMasterId r:id="rId27"/>
  </p:notesMasterIdLst>
  <p:handoutMasterIdLst>
    <p:handoutMasterId r:id="rId28"/>
  </p:handoutMasterIdLst>
  <p:sldIdLst>
    <p:sldId id="2146846429" r:id="rId7"/>
    <p:sldId id="2147470201" r:id="rId8"/>
    <p:sldId id="2146846282" r:id="rId9"/>
    <p:sldId id="2147470202" r:id="rId10"/>
    <p:sldId id="2147470208" r:id="rId11"/>
    <p:sldId id="2147470207" r:id="rId12"/>
    <p:sldId id="2147470203" r:id="rId13"/>
    <p:sldId id="2147470209" r:id="rId14"/>
    <p:sldId id="2147470211" r:id="rId15"/>
    <p:sldId id="2147470212" r:id="rId16"/>
    <p:sldId id="2147470216" r:id="rId17"/>
    <p:sldId id="2147470217" r:id="rId18"/>
    <p:sldId id="2147470229" r:id="rId19"/>
    <p:sldId id="2147470219" r:id="rId20"/>
    <p:sldId id="2147470226" r:id="rId21"/>
    <p:sldId id="2147470220" r:id="rId22"/>
    <p:sldId id="2147470221" r:id="rId23"/>
    <p:sldId id="2147470222" r:id="rId24"/>
    <p:sldId id="2147470223" r:id="rId25"/>
    <p:sldId id="2147470225" r:id="rId26"/>
  </p:sldIdLst>
  <p:sldSz cx="9144000" cy="5143500" type="screen16x9"/>
  <p:notesSz cx="6858000" cy="9144000"/>
  <p:embeddedFontLst>
    <p:embeddedFont>
      <p:font typeface="Arial Nova" panose="020B0504020202020204" pitchFamily="34" charset="0"/>
      <p:regular r:id="rId29"/>
      <p:bold r:id="rId30"/>
      <p:italic r:id="rId31"/>
      <p:boldItalic r:id="rId32"/>
    </p:embeddedFont>
    <p:embeddedFont>
      <p:font typeface="Arial Nova Light" panose="020F0302020204030204" pitchFamily="34" charset="0"/>
      <p:regular r:id="rId33"/>
      <p:italic r:id="rId34"/>
    </p:embeddedFont>
    <p:embeddedFont>
      <p:font typeface="Calibri" panose="020F0502020204030204" pitchFamily="34" charset="0"/>
      <p:regular r:id="rId35"/>
      <p:bold r:id="rId36"/>
      <p:italic r:id="rId37"/>
      <p:boldItalic r:id="rId38"/>
    </p:embeddedFont>
    <p:embeddedFont>
      <p:font typeface="IBM Plex Sans" panose="020B0503050203000203" pitchFamily="34" charset="0"/>
      <p:regular r:id="rId39"/>
      <p:bold r:id="rId40"/>
      <p:italic r:id="rId41"/>
      <p:boldItalic r:id="rId42"/>
    </p:embeddedFont>
    <p:embeddedFont>
      <p:font typeface="Verdana" panose="020B0604030504040204" pitchFamily="34" charset="0"/>
      <p:regular r:id="rId43"/>
      <p:bold r:id="rId44"/>
      <p:italic r:id="rId45"/>
      <p:boldItalic r:id="rId46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567C2F7A-C6F8-4DD9-A304-D697A30944A8}">
          <p14:sldIdLst>
            <p14:sldId id="2146846429"/>
            <p14:sldId id="2147470201"/>
          </p14:sldIdLst>
        </p14:section>
        <p14:section name="Cybersecurity in the Modern Age" id="{E1A20C02-7FAE-45D0-A245-859DC7DDA5AE}">
          <p14:sldIdLst>
            <p14:sldId id="2146846282"/>
            <p14:sldId id="2147470202"/>
            <p14:sldId id="2147470208"/>
            <p14:sldId id="2147470207"/>
            <p14:sldId id="2147470203"/>
          </p14:sldIdLst>
        </p14:section>
        <p14:section name="What is the problem?" id="{3A866B18-FACA-43A1-81DC-74177A3E9944}">
          <p14:sldIdLst>
            <p14:sldId id="2147470209"/>
            <p14:sldId id="2147470211"/>
            <p14:sldId id="2147470212"/>
            <p14:sldId id="2147470216"/>
          </p14:sldIdLst>
        </p14:section>
        <p14:section name="What is the solution?" id="{F9B9392B-0E75-4523-947C-ED71FCB2A2F7}">
          <p14:sldIdLst>
            <p14:sldId id="2147470217"/>
            <p14:sldId id="2147470229"/>
            <p14:sldId id="2147470219"/>
            <p14:sldId id="2147470226"/>
            <p14:sldId id="2147470220"/>
            <p14:sldId id="2147470221"/>
            <p14:sldId id="2147470222"/>
            <p14:sldId id="2147470223"/>
            <p14:sldId id="2147470225"/>
          </p14:sldIdLst>
        </p14:section>
        <p14:section name="Appendix" id="{85332329-F078-4184-92CC-171AFB1AFC24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685C4A9-EF82-0D9D-8425-ECBF2232AC7C}" name="Philip Martin" initials="PM" userId="S::pmartin_hubbardresearch.com#ext#@crayon.onmicrosoft.com::721dfbc4-21c2-4cce-8c44-3f3b4cdff3f9" providerId="AD"/>
  <p188:author id="{24FAEAD4-DE39-4853-4197-3C36A0AB1678}" name="Edgar Vela" initials="EV" userId="S::edgar.vela@crayon.com::ae03e39d-89b1-4783-9dce-064dc6bdafa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303B"/>
    <a:srgbClr val="0C222C"/>
    <a:srgbClr val="343741"/>
    <a:srgbClr val="FDBA12"/>
    <a:srgbClr val="EC0089"/>
    <a:srgbClr val="1F0047"/>
    <a:srgbClr val="4C6169"/>
    <a:srgbClr val="123E64"/>
    <a:srgbClr val="FF8641"/>
    <a:srgbClr val="1490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3A72C33-8BCF-4F0C-BB02-9A4D1BD99972}" v="674" dt="2022-05-26T15:55:16.677"/>
  </p1510:revLst>
</p1510:revInfo>
</file>

<file path=ppt/tableStyles.xml><?xml version="1.0" encoding="utf-8"?>
<a:tblStyleLst xmlns:a="http://schemas.openxmlformats.org/drawingml/2006/main" def="{5C22544A-7EE6-4342-B048-85BDC9FD1C3A}"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19" autoAdjust="0"/>
    <p:restoredTop sz="76492"/>
  </p:normalViewPr>
  <p:slideViewPr>
    <p:cSldViewPr snapToGrid="0">
      <p:cViewPr>
        <p:scale>
          <a:sx n="180" d="100"/>
          <a:sy n="180" d="100"/>
        </p:scale>
        <p:origin x="1232" y="14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font" Target="fonts/font11.fntdata"/><Relationship Id="rId21" Type="http://schemas.openxmlformats.org/officeDocument/2006/relationships/slide" Target="slides/slide15.xml"/><Relationship Id="rId34" Type="http://schemas.openxmlformats.org/officeDocument/2006/relationships/font" Target="fonts/font6.fntdata"/><Relationship Id="rId42" Type="http://schemas.openxmlformats.org/officeDocument/2006/relationships/font" Target="fonts/font14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font" Target="fonts/font1.fntdata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font" Target="fonts/font4.fntdata"/><Relationship Id="rId37" Type="http://schemas.openxmlformats.org/officeDocument/2006/relationships/font" Target="fonts/font9.fntdata"/><Relationship Id="rId40" Type="http://schemas.openxmlformats.org/officeDocument/2006/relationships/font" Target="fonts/font12.fntdata"/><Relationship Id="rId45" Type="http://schemas.openxmlformats.org/officeDocument/2006/relationships/font" Target="fonts/font17.fntdata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handoutMaster" Target="handoutMasters/handoutMaster1.xml"/><Relationship Id="rId36" Type="http://schemas.openxmlformats.org/officeDocument/2006/relationships/font" Target="fonts/font8.fntdata"/><Relationship Id="rId49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font" Target="fonts/font3.fntdata"/><Relationship Id="rId44" Type="http://schemas.openxmlformats.org/officeDocument/2006/relationships/font" Target="fonts/font16.fntdata"/><Relationship Id="rId52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43" Type="http://schemas.openxmlformats.org/officeDocument/2006/relationships/font" Target="fonts/font15.fntdata"/><Relationship Id="rId48" Type="http://schemas.openxmlformats.org/officeDocument/2006/relationships/viewProps" Target="viewProps.xml"/><Relationship Id="rId8" Type="http://schemas.openxmlformats.org/officeDocument/2006/relationships/slide" Target="slides/slide2.xml"/><Relationship Id="rId51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font" Target="fonts/font5.fntdata"/><Relationship Id="rId38" Type="http://schemas.openxmlformats.org/officeDocument/2006/relationships/font" Target="fonts/font10.fntdata"/><Relationship Id="rId46" Type="http://schemas.openxmlformats.org/officeDocument/2006/relationships/font" Target="fonts/font18.fntdata"/><Relationship Id="rId20" Type="http://schemas.openxmlformats.org/officeDocument/2006/relationships/slide" Target="slides/slide14.xml"/><Relationship Id="rId41" Type="http://schemas.openxmlformats.org/officeDocument/2006/relationships/font" Target="fonts/font13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84E9E7-0A46-C642-B1CD-9F43F63A761F}" type="datetime1">
              <a:rPr lang="en-US" smtClean="0"/>
              <a:t>5/31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C0FFE6-5FBB-9B41-A19C-338E023F0B0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67709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F37FED-970C-2049-96AE-96BD1BA5E2DA}" type="datetime1">
              <a:rPr lang="en-US" smtClean="0"/>
              <a:t>5/31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048085-8ED8-F544-9D86-69C4C46BE9E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96025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482394-67E1-6746-A610-9C5C5DD3D71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22485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9518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0591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84140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6448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1980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482394-67E1-6746-A610-9C5C5DD3D71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56654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9827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6226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851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3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035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1130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8635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0626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07894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tekst og bilde (H) (Mørk)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59" y="980064"/>
            <a:ext cx="3725548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1750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21238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tekst og bilde (H) (Mørk)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59" y="980064"/>
            <a:ext cx="3725548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1750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36635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– DarkForest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2793244"/>
            <a:ext cx="3943350" cy="917665"/>
          </a:xfrm>
        </p:spPr>
        <p:txBody>
          <a:bodyPr lIns="22860" tIns="11430" rIns="22860" bIns="11430"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0" y="3754094"/>
            <a:ext cx="3943350" cy="847242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342806" indent="0" algn="ctr">
              <a:buNone/>
              <a:defRPr sz="1500"/>
            </a:lvl2pPr>
            <a:lvl3pPr marL="685611" indent="0" algn="ctr">
              <a:buNone/>
              <a:defRPr sz="1350"/>
            </a:lvl3pPr>
            <a:lvl4pPr marL="1028417" indent="0" algn="ctr">
              <a:buNone/>
              <a:defRPr sz="1200"/>
            </a:lvl4pPr>
            <a:lvl5pPr marL="1371223" indent="0" algn="ctr">
              <a:buNone/>
              <a:defRPr sz="1200"/>
            </a:lvl5pPr>
            <a:lvl6pPr marL="1714029" indent="0" algn="ctr">
              <a:buNone/>
              <a:defRPr sz="1200"/>
            </a:lvl6pPr>
            <a:lvl7pPr marL="2056834" indent="0" algn="ctr">
              <a:buNone/>
              <a:defRPr sz="1200"/>
            </a:lvl7pPr>
            <a:lvl8pPr marL="2399640" indent="0" algn="ctr">
              <a:buNone/>
              <a:defRPr sz="1200"/>
            </a:lvl8pPr>
            <a:lvl9pPr marL="2742446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1" y="216158"/>
            <a:ext cx="1463469" cy="273844"/>
          </a:xfrm>
        </p:spPr>
        <p:txBody>
          <a:bodyPr lIns="0" tIns="11430" rIns="0" bIns="11430"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8136E2EC-4B51-134E-95EB-821F6E2099F6}" type="datetime1">
              <a:t>5/31/22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B3DB90B-999F-48DC-BBF7-B18228CEA3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8325" y="1323507"/>
            <a:ext cx="3279802" cy="658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6878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– Forest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2793244"/>
            <a:ext cx="3943350" cy="917665"/>
          </a:xfrm>
        </p:spPr>
        <p:txBody>
          <a:bodyPr lIns="22860" tIns="11430" rIns="22860" bIns="11430"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0" y="3754094"/>
            <a:ext cx="3943350" cy="847242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342806" indent="0" algn="ctr">
              <a:buNone/>
              <a:defRPr sz="1500"/>
            </a:lvl2pPr>
            <a:lvl3pPr marL="685611" indent="0" algn="ctr">
              <a:buNone/>
              <a:defRPr sz="1350"/>
            </a:lvl3pPr>
            <a:lvl4pPr marL="1028417" indent="0" algn="ctr">
              <a:buNone/>
              <a:defRPr sz="1200"/>
            </a:lvl4pPr>
            <a:lvl5pPr marL="1371223" indent="0" algn="ctr">
              <a:buNone/>
              <a:defRPr sz="1200"/>
            </a:lvl5pPr>
            <a:lvl6pPr marL="1714029" indent="0" algn="ctr">
              <a:buNone/>
              <a:defRPr sz="1200"/>
            </a:lvl6pPr>
            <a:lvl7pPr marL="2056834" indent="0" algn="ctr">
              <a:buNone/>
              <a:defRPr sz="1200"/>
            </a:lvl7pPr>
            <a:lvl8pPr marL="2399640" indent="0" algn="ctr">
              <a:buNone/>
              <a:defRPr sz="1200"/>
            </a:lvl8pPr>
            <a:lvl9pPr marL="2742446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1" y="216158"/>
            <a:ext cx="1463469" cy="273844"/>
          </a:xfrm>
        </p:spPr>
        <p:txBody>
          <a:bodyPr lIns="0" tIns="11430" rIns="0" bIns="11430"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F5D623E5-E0BE-C94C-8208-883F524C8161}" type="datetime1">
              <a:t>5/31/22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8325" y="1323508"/>
            <a:ext cx="3279802" cy="658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3999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– Cloudberry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2793244"/>
            <a:ext cx="3943350" cy="917665"/>
          </a:xfrm>
        </p:spPr>
        <p:txBody>
          <a:bodyPr lIns="22860" tIns="11430" rIns="22860" bIns="11430"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0" y="3754094"/>
            <a:ext cx="3943350" cy="847242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342806" indent="0" algn="ctr">
              <a:buNone/>
              <a:defRPr sz="1500"/>
            </a:lvl2pPr>
            <a:lvl3pPr marL="685611" indent="0" algn="ctr">
              <a:buNone/>
              <a:defRPr sz="1350"/>
            </a:lvl3pPr>
            <a:lvl4pPr marL="1028417" indent="0" algn="ctr">
              <a:buNone/>
              <a:defRPr sz="1200"/>
            </a:lvl4pPr>
            <a:lvl5pPr marL="1371223" indent="0" algn="ctr">
              <a:buNone/>
              <a:defRPr sz="1200"/>
            </a:lvl5pPr>
            <a:lvl6pPr marL="1714029" indent="0" algn="ctr">
              <a:buNone/>
              <a:defRPr sz="1200"/>
            </a:lvl6pPr>
            <a:lvl7pPr marL="2056834" indent="0" algn="ctr">
              <a:buNone/>
              <a:defRPr sz="1200"/>
            </a:lvl7pPr>
            <a:lvl8pPr marL="2399640" indent="0" algn="ctr">
              <a:buNone/>
              <a:defRPr sz="1200"/>
            </a:lvl8pPr>
            <a:lvl9pPr marL="2742446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1" y="216158"/>
            <a:ext cx="1463469" cy="273844"/>
          </a:xfrm>
        </p:spPr>
        <p:txBody>
          <a:bodyPr lIns="0" tIns="11430" rIns="0" bIns="11430"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DC7CBD48-56FC-CC46-85D5-5376B750ACB7}" type="datetime1">
              <a:t>5/31/22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8325" y="1323508"/>
            <a:ext cx="3279802" cy="658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6754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CB8C0338-2BDE-4584-BA57-E6FAFAA9A7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908" y="4739615"/>
            <a:ext cx="1165254" cy="38375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31F89-412D-0C46-9093-057372987BC0}" type="datetime1">
              <a:t>5/3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22396" y="4794572"/>
            <a:ext cx="6544139" cy="273844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1392726"/>
            <a:ext cx="8048481" cy="32400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59" y="628859"/>
            <a:ext cx="8048481" cy="476147"/>
          </a:xfrm>
        </p:spPr>
        <p:txBody>
          <a:bodyPr/>
          <a:lstStyle>
            <a:lvl1pPr>
              <a:defRPr sz="2000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5CCD580-282E-4EFF-995B-6B978CADA8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60" y="333133"/>
            <a:ext cx="8048482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75794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CB8C0338-2BDE-4584-BA57-E6FAFAA9A7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908" y="4739615"/>
            <a:ext cx="1165254" cy="38375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31F89-412D-0C46-9093-057372987BC0}" type="datetime1">
              <a:t>5/3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22396" y="4794572"/>
            <a:ext cx="6544139" cy="273844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59" y="628859"/>
            <a:ext cx="8048481" cy="476147"/>
          </a:xfrm>
        </p:spPr>
        <p:txBody>
          <a:bodyPr/>
          <a:lstStyle>
            <a:lvl1pPr>
              <a:defRPr sz="2000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5CCD580-282E-4EFF-995B-6B978CADA8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60" y="333133"/>
            <a:ext cx="8048482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74322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 dark1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60" y="1338900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8AE094B2-679E-6849-84B4-69706B82827B}" type="datetime1">
              <a:t>5/3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60" y="980064"/>
            <a:ext cx="3725548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Add image from </a:t>
            </a:r>
            <a:r>
              <a:rPr lang="en-US" err="1"/>
              <a:t>Pickit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60" y="2571750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04021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 dark2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60" y="1338900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0F6799F7-6FAC-9F4C-8C34-6ABD69D80234}" type="datetime1">
              <a:t>5/3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Add image from Pickit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6" y="965148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60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3273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ogo animation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87166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and Sess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552" y="1995686"/>
            <a:ext cx="8064896" cy="720080"/>
          </a:xfrm>
        </p:spPr>
        <p:txBody>
          <a:bodyPr>
            <a:normAutofit/>
          </a:bodyPr>
          <a:lstStyle>
            <a:lvl1pPr algn="ctr">
              <a:defRPr sz="2800">
                <a:solidFill>
                  <a:srgbClr val="FDBA12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5" name="Plassholder for tekst 3">
            <a:extLst>
              <a:ext uri="{FF2B5EF4-FFF2-40B4-BE49-F238E27FC236}">
                <a16:creationId xmlns:a16="http://schemas.microsoft.com/office/drawing/2014/main" id="{1CD8EA4B-13CD-40B4-BDDD-B2F23644D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2931791"/>
            <a:ext cx="8064896" cy="432048"/>
          </a:xfrm>
        </p:spPr>
        <p:txBody>
          <a:bodyPr/>
          <a:lstStyle>
            <a:lvl1pPr marL="0" indent="0" algn="ctr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1pPr>
            <a:lvl2pPr marL="4572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2pPr>
            <a:lvl3pPr marL="9144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3pPr>
            <a:lvl4pPr marL="13716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4pPr>
            <a:lvl5pPr marL="1828800" indent="0">
              <a:buClr>
                <a:srgbClr val="FDBA12"/>
              </a:buClr>
              <a:buFontTx/>
              <a:buNone/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111475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31F89-412D-0C46-9093-057372987BC0}" type="datetime1">
              <a:t>5/3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22396" y="4794572"/>
            <a:ext cx="6544139" cy="273844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1392726"/>
            <a:ext cx="8048481" cy="32400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59" y="628859"/>
            <a:ext cx="8048481" cy="47614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1C82C10C-2146-434F-A163-D7049CE891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910" y="4728570"/>
            <a:ext cx="1165252" cy="383756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5CCD580-282E-4EFF-995B-6B978CADA8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60" y="333133"/>
            <a:ext cx="8048482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23630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BD530-0C95-B248-BE6E-460D25DC0467}" type="datetime1">
              <a:t>5/3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60" y="333133"/>
            <a:ext cx="8048482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60" y="1392726"/>
            <a:ext cx="3725548" cy="3240000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584EC5E-0F4F-4D27-96CF-2C9E04FB202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870694" y="1392726"/>
            <a:ext cx="3725548" cy="3240000"/>
          </a:xfrm>
          <a:prstGeom prst="rect">
            <a:avLst/>
          </a:prstGeom>
        </p:spPr>
        <p:txBody>
          <a:bodyPr lIns="91440" tIns="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C0CDF4-3DF1-4EE2-B9E5-B969E0D2E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59" y="628859"/>
            <a:ext cx="8048481" cy="47614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644257F0-7380-4CEB-98E6-68BAB4500B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910" y="4728570"/>
            <a:ext cx="1165252" cy="383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9634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60" y="628859"/>
            <a:ext cx="3725548" cy="47614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2647A-536E-584B-B949-515973F932E5}" type="datetime1">
              <a:t>5/3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60" y="333133"/>
            <a:ext cx="3725548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from Pickit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60" y="1393842"/>
            <a:ext cx="3725548" cy="3238884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180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450"/>
              </a:spcBef>
              <a:defRPr/>
            </a:lvl3pPr>
            <a:lvl4pPr>
              <a:spcBef>
                <a:spcPts val="450"/>
              </a:spcBef>
              <a:defRPr/>
            </a:lvl4pPr>
            <a:lvl5pPr>
              <a:spcBef>
                <a:spcPts val="45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67170DE7-A693-410C-AF1A-F6F1F817EF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910" y="4728570"/>
            <a:ext cx="1165252" cy="383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3448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, content and picture (R) Light">
    <p:bg>
      <p:bgPr>
        <a:solidFill>
          <a:srgbClr val="E6E4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60" y="1338900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794C2AEC-A073-364D-81B6-67774822CBAC}" type="datetime1">
              <a:rPr lang="sv-SE" smtClean="0"/>
              <a:t>2022-05-3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6" y="965148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60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95191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 (R)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60" y="1338900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4C2AEC-A073-364D-81B6-67774822CBAC}" type="datetime1">
              <a:rPr lang="sv-SE" smtClean="0"/>
              <a:t>2022-05-3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6" y="965148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60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72917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content and picture (R) dark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60" y="1338900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4C2AEC-A073-364D-81B6-67774822CBAC}" type="datetime1">
              <a:rPr lang="sv-SE" smtClean="0"/>
              <a:t>2022-05-3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6" y="965148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60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30146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, content and picture (R) Light 2">
    <p:bg>
      <p:bgPr>
        <a:solidFill>
          <a:srgbClr val="F2F1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60" y="1338900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794C2AEC-A073-364D-81B6-67774822CBAC}" type="datetime1">
              <a:rPr lang="sv-SE" smtClean="0"/>
              <a:t>2022-05-3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6" y="965148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60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44450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225" y="3654305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2225" y="3344885"/>
            <a:ext cx="3725548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9144000" cy="31293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729185" y="3344885"/>
            <a:ext cx="3862592" cy="1227084"/>
          </a:xfrm>
          <a:prstGeom prst="rect">
            <a:avLst/>
          </a:prstGeom>
        </p:spPr>
        <p:txBody>
          <a:bodyPr lIns="91440" tIns="13680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C826C46D-0AC2-4676-A5E0-1B574E3536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910" y="4728570"/>
            <a:ext cx="1165252" cy="383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8313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divi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40" y="480991"/>
            <a:ext cx="8048482" cy="476147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7680" y="1740719"/>
            <a:ext cx="3545903" cy="2899149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09224" y="1740974"/>
            <a:ext cx="3545902" cy="2898893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54DBA-093D-D041-92DD-F151F77DF819}" type="datetime1">
              <a:t>5/31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7679" y="1397282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E26445D3-AD7C-422F-817D-E1B0CAA70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08991" y="1397282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2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A8ACF8-CC5E-2340-9A5F-4E6DE474C998}"/>
              </a:ext>
            </a:extLst>
          </p:cNvPr>
          <p:cNvCxnSpPr>
            <a:cxnSpLocks/>
          </p:cNvCxnSpPr>
          <p:nvPr userDrawn="1"/>
        </p:nvCxnSpPr>
        <p:spPr>
          <a:xfrm>
            <a:off x="4571402" y="1467984"/>
            <a:ext cx="0" cy="292235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4CBBA6E2-7AAC-467E-A496-C74277A100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910" y="4728570"/>
            <a:ext cx="1165252" cy="383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5655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content divi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7680" y="1740973"/>
            <a:ext cx="3545903" cy="1259750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25A127-8C41-BB48-A50E-F65E3D532D6B}" type="datetime1">
              <a:t>5/31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7A595EC-0361-49B6-81CA-04FD6F9F6BFF}"/>
              </a:ext>
            </a:extLst>
          </p:cNvPr>
          <p:cNvCxnSpPr>
            <a:cxnSpLocks/>
          </p:cNvCxnSpPr>
          <p:nvPr userDrawn="1"/>
        </p:nvCxnSpPr>
        <p:spPr>
          <a:xfrm>
            <a:off x="4571404" y="1467984"/>
            <a:ext cx="0" cy="292235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7679" y="1397281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5C0175F-E72E-49A4-8ADB-2C14D8F09A3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87680" y="3372976"/>
            <a:ext cx="3545903" cy="1259750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7679" y="3043572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07EE901-C051-4CE5-ABB1-E28A8637919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908992" y="1740973"/>
            <a:ext cx="3545903" cy="1259750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765E099-EC2C-4736-BCF0-CC11535AC0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08991" y="1397281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ECBDDE2C-2C54-450D-8BA1-3C6DC3BB929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4908992" y="3372976"/>
            <a:ext cx="3545903" cy="1259750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ACC96FB-9901-410D-9DD5-2E2E794E0C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908991" y="3043572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 descr="A picture containing drawing&#10;&#10;Description automatically generated">
            <a:extLst>
              <a:ext uri="{FF2B5EF4-FFF2-40B4-BE49-F238E27FC236}">
                <a16:creationId xmlns:a16="http://schemas.microsoft.com/office/drawing/2014/main" id="{32DC65F4-7004-4F22-9399-10C49CB13A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910" y="4728570"/>
            <a:ext cx="1165252" cy="38375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822A4BCA-989F-4390-9F07-44132E1281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40" y="480991"/>
            <a:ext cx="8048482" cy="476147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43322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8F95C4E-1091-4AFC-A458-56779C01DE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552" y="1995686"/>
            <a:ext cx="8064896" cy="720080"/>
          </a:xfrm>
        </p:spPr>
        <p:txBody>
          <a:bodyPr>
            <a:normAutofit/>
          </a:bodyPr>
          <a:lstStyle>
            <a:lvl1pPr algn="ctr">
              <a:defRPr sz="2800">
                <a:solidFill>
                  <a:srgbClr val="FDBA12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C3C1C-64D2-F645-BCBA-F2B4B75E1724}" type="datetime1">
              <a:t>5/31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7679" y="2662409"/>
            <a:ext cx="2060642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04F1AA4-191D-4952-B274-A780EDB74A5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65538" y="1589559"/>
            <a:ext cx="825061" cy="82816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from Pickit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ABA2140-291F-484E-A46C-B34C10995B6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16760" y="1589559"/>
            <a:ext cx="825061" cy="82816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from Pickit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577E2EC7-038C-494F-8D0B-691B0805A4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636933" y="1589559"/>
            <a:ext cx="825061" cy="82816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from Pickit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5D0DEB43-7FB7-4048-895E-21C26525E3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98970" y="2662408"/>
            <a:ext cx="2060642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D7FCC674-D252-4B15-B916-261003ECB4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10260" y="2662409"/>
            <a:ext cx="2060642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191F145-A3F9-4328-A078-A9D1A27853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7679" y="3000563"/>
            <a:ext cx="2060642" cy="1632162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FD7CC3-59D3-45DD-AF61-A26D138927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8970" y="3000563"/>
            <a:ext cx="2060642" cy="1632162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60EAC6D-34A6-4BA8-B83E-6A9AC8CD96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10260" y="3000563"/>
            <a:ext cx="2060642" cy="1632162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5670D9EE-C57E-436F-B2DB-7BC4C7C64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910" y="4728570"/>
            <a:ext cx="1165252" cy="383756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5AD81DBB-A168-422B-A602-3B6E3F308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40" y="480991"/>
            <a:ext cx="8048482" cy="476147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06009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FEA1A6-E4CE-3D42-A226-E88A9018673B}" type="datetime1">
              <a:t>5/31/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9692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ni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87912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tekst og bilde (H) (Mørk)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60" y="1338900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60" y="980064"/>
            <a:ext cx="3725548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60" y="2571750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11028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aseline="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/>
          </p:nvPr>
        </p:nvSpPr>
        <p:spPr>
          <a:xfrm>
            <a:off x="457200" y="1563688"/>
            <a:ext cx="8229600" cy="2663825"/>
          </a:xfrm>
        </p:spPr>
        <p:txBody>
          <a:bodyPr/>
          <a:lstStyle>
            <a:lvl1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1pPr>
            <a:lvl2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2pPr>
            <a:lvl3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3pPr>
            <a:lvl4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4pPr>
            <a:lvl5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DARK media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aseline="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/>
          </p:nvPr>
        </p:nvSpPr>
        <p:spPr>
          <a:xfrm>
            <a:off x="457200" y="1563688"/>
            <a:ext cx="4042792" cy="2663825"/>
          </a:xfrm>
        </p:spPr>
        <p:txBody>
          <a:bodyPr/>
          <a:lstStyle>
            <a:lvl1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1pPr>
            <a:lvl2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2pPr>
            <a:lvl3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3pPr>
            <a:lvl4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4pPr>
            <a:lvl5pPr>
              <a:buClr>
                <a:srgbClr val="FDBA12"/>
              </a:buClr>
              <a:defRPr baseline="0">
                <a:solidFill>
                  <a:schemeClr val="bg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619DA90-5716-16E7-D0C6-E0AD562F6B2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716463" y="1563688"/>
            <a:ext cx="3970337" cy="2663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6046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aseline="0">
                <a:solidFill>
                  <a:srgbClr val="34374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/>
          </p:nvPr>
        </p:nvSpPr>
        <p:spPr>
          <a:xfrm>
            <a:off x="457200" y="1563688"/>
            <a:ext cx="8229600" cy="2663825"/>
          </a:xfrm>
        </p:spPr>
        <p:txBody>
          <a:bodyPr/>
          <a:lstStyle>
            <a:lvl1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1pPr>
            <a:lvl2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2pPr>
            <a:lvl3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3pPr>
            <a:lvl4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4pPr>
            <a:lvl5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430873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LIGHT media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aseline="0">
                <a:solidFill>
                  <a:srgbClr val="34374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/>
          </p:nvPr>
        </p:nvSpPr>
        <p:spPr>
          <a:xfrm>
            <a:off x="457200" y="1563688"/>
            <a:ext cx="4114800" cy="2663825"/>
          </a:xfrm>
        </p:spPr>
        <p:txBody>
          <a:bodyPr/>
          <a:lstStyle>
            <a:lvl1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1pPr>
            <a:lvl2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2pPr>
            <a:lvl3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3pPr>
            <a:lvl4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4pPr>
            <a:lvl5pPr>
              <a:buClr>
                <a:srgbClr val="FDBA12"/>
              </a:buClr>
              <a:defRPr baseline="0">
                <a:solidFill>
                  <a:srgbClr val="343741"/>
                </a:solidFill>
                <a:latin typeface="IBM Plex Sans" panose="020B0503050203000203" pitchFamily="34" charset="0"/>
                <a:cs typeface="Museo Sans 10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01918F4-FC6F-654D-B51C-42789775576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716463" y="1563688"/>
            <a:ext cx="3970337" cy="26638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785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inse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60A42B-155C-4E38-B2A4-05F9B3773F2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8313" y="411510"/>
            <a:ext cx="8208143" cy="4176464"/>
          </a:xfrm>
        </p:spPr>
        <p:txBody>
          <a:bodyPr/>
          <a:lstStyle>
            <a:lvl1pPr>
              <a:buClr>
                <a:srgbClr val="FDBA12"/>
              </a:buClr>
              <a:defRPr/>
            </a:lvl1pPr>
            <a:lvl2pPr>
              <a:buClr>
                <a:srgbClr val="FDBA12"/>
              </a:buClr>
              <a:defRPr/>
            </a:lvl2pPr>
            <a:lvl3pPr>
              <a:buClr>
                <a:srgbClr val="FDBA12"/>
              </a:buClr>
              <a:defRPr/>
            </a:lvl3pPr>
            <a:lvl4pPr>
              <a:buClr>
                <a:srgbClr val="FDBA12"/>
              </a:buClr>
              <a:defRPr/>
            </a:lvl4pPr>
            <a:lvl5pPr>
              <a:buClr>
                <a:srgbClr val="FDBA1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2194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6876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55526"/>
            <a:ext cx="82296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69927"/>
            <a:ext cx="8229600" cy="28229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3" r:id="rId2"/>
    <p:sldLayoutId id="2147483649" r:id="rId3"/>
    <p:sldLayoutId id="2147483655" r:id="rId4"/>
    <p:sldLayoutId id="2147483695" r:id="rId5"/>
    <p:sldLayoutId id="2147483692" r:id="rId6"/>
    <p:sldLayoutId id="2147483696" r:id="rId7"/>
    <p:sldLayoutId id="2147483694" r:id="rId8"/>
    <p:sldLayoutId id="2147483691" r:id="rId9"/>
    <p:sldLayoutId id="2147483724" r:id="rId10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200" kern="1200" baseline="0">
          <a:solidFill>
            <a:srgbClr val="343741"/>
          </a:solidFill>
          <a:latin typeface="IBM Plex Sans" panose="020B0503050203000203" pitchFamily="34" charset="0"/>
          <a:ea typeface="+mj-ea"/>
          <a:cs typeface="Museo Sans 10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FDBA12"/>
        </a:buClr>
        <a:buFont typeface="Arial"/>
        <a:buChar char="•"/>
        <a:defRPr sz="2000" b="0" i="0" strike="noStrike" kern="1200" baseline="0">
          <a:solidFill>
            <a:srgbClr val="343741"/>
          </a:solidFill>
          <a:latin typeface="IBM Plex Sans" panose="020B0503050203000203" pitchFamily="34" charset="0"/>
          <a:ea typeface="+mn-ea"/>
          <a:cs typeface="Museo Sans 300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FDBA12"/>
        </a:buClr>
        <a:buFont typeface="Arial"/>
        <a:buChar char="•"/>
        <a:defRPr sz="1800" b="0" i="0" kern="1200" baseline="0">
          <a:solidFill>
            <a:srgbClr val="343741"/>
          </a:solidFill>
          <a:latin typeface="IBM Plex Sans" panose="020B0503050203000203" pitchFamily="34" charset="0"/>
          <a:ea typeface="+mn-ea"/>
          <a:cs typeface="Museo Sans 300"/>
        </a:defRPr>
      </a:lvl2pPr>
      <a:lvl3pPr marL="1257300" indent="-342900" algn="l" defTabSz="457200" rtl="0" eaLnBrk="1" latinLnBrk="0" hangingPunct="1">
        <a:spcBef>
          <a:spcPct val="20000"/>
        </a:spcBef>
        <a:buClr>
          <a:srgbClr val="FDBA12"/>
        </a:buClr>
        <a:buFont typeface="Arial"/>
        <a:buChar char="•"/>
        <a:defRPr sz="1800" b="0" i="0" kern="1200" baseline="0">
          <a:solidFill>
            <a:srgbClr val="343741"/>
          </a:solidFill>
          <a:latin typeface="IBM Plex Sans" panose="020B0503050203000203" pitchFamily="34" charset="0"/>
          <a:ea typeface="+mn-ea"/>
          <a:cs typeface="Museo Sans 300"/>
        </a:defRPr>
      </a:lvl3pPr>
      <a:lvl4pPr marL="1600200" indent="-228600" algn="l" defTabSz="457200" rtl="0" eaLnBrk="1" latinLnBrk="0" hangingPunct="1">
        <a:spcBef>
          <a:spcPct val="20000"/>
        </a:spcBef>
        <a:buClr>
          <a:srgbClr val="FDBA12"/>
        </a:buClr>
        <a:buFont typeface="Arial"/>
        <a:buChar char="•"/>
        <a:defRPr sz="1400" b="0" i="0" kern="1200" baseline="0">
          <a:solidFill>
            <a:srgbClr val="343741"/>
          </a:solidFill>
          <a:latin typeface="IBM Plex Sans" panose="020B0503050203000203" pitchFamily="34" charset="0"/>
          <a:ea typeface="+mn-ea"/>
          <a:cs typeface="Museo Sans 300"/>
        </a:defRPr>
      </a:lvl4pPr>
      <a:lvl5pPr marL="2057400" indent="-228600" algn="l" defTabSz="457200" rtl="0" eaLnBrk="1" latinLnBrk="0" hangingPunct="1">
        <a:spcBef>
          <a:spcPct val="20000"/>
        </a:spcBef>
        <a:buClr>
          <a:srgbClr val="FDBA12"/>
        </a:buClr>
        <a:buFont typeface="Arial"/>
        <a:buChar char="•"/>
        <a:defRPr sz="1400" b="0" i="0" kern="1200" baseline="0">
          <a:solidFill>
            <a:srgbClr val="343741"/>
          </a:solidFill>
          <a:latin typeface="IBM Plex Sans" panose="020B0503050203000203" pitchFamily="34" charset="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D4B094C-E05C-44A2-A672-D9B6FCD165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D4B094C-E05C-44A2-A672-D9B6FCD165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A248761-9897-41ED-90B0-8EEC8F8F395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 Nova Light" panose="020B0304020202020204" pitchFamily="34" charset="0"/>
              <a:ea typeface="+mj-ea"/>
              <a:cs typeface="+mj-cs"/>
              <a:sym typeface="Arial Nova Light" panose="020B03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7760" y="623058"/>
            <a:ext cx="7967591" cy="476147"/>
          </a:xfrm>
          <a:prstGeom prst="rect">
            <a:avLst/>
          </a:prstGeom>
        </p:spPr>
        <p:txBody>
          <a:bodyPr vert="horz" lIns="45720" tIns="22860" rIns="45720" bIns="2286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760" y="1393842"/>
            <a:ext cx="7967591" cy="3238883"/>
          </a:xfrm>
          <a:prstGeom prst="rect">
            <a:avLst/>
          </a:prstGeom>
        </p:spPr>
        <p:txBody>
          <a:bodyPr vert="horz" lIns="45720" tIns="22860" rIns="45720" bIns="2286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7760" y="4794571"/>
            <a:ext cx="562187" cy="273844"/>
          </a:xfrm>
          <a:prstGeom prst="rect">
            <a:avLst/>
          </a:prstGeom>
        </p:spPr>
        <p:txBody>
          <a:bodyPr vert="horz" lIns="0" tIns="22860" rIns="0" bIns="22860" rtlCol="0" anchor="ctr"/>
          <a:lstStyle>
            <a:lvl1pPr algn="l">
              <a:defRPr sz="638">
                <a:solidFill>
                  <a:srgbClr val="404040"/>
                </a:solidFill>
              </a:defRPr>
            </a:lvl1pPr>
          </a:lstStyle>
          <a:p>
            <a:fld id="{794C2AEC-A073-364D-81B6-67774822CBAC}" type="datetime1">
              <a:t>5/3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395" y="4794571"/>
            <a:ext cx="6592955" cy="27384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lvl1pPr algn="l">
              <a:defRPr sz="638">
                <a:solidFill>
                  <a:srgbClr val="40404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9947" y="4794571"/>
            <a:ext cx="812449" cy="27384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lvl1pPr algn="ctr">
              <a:defRPr sz="638">
                <a:solidFill>
                  <a:srgbClr val="404040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4018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</p:sldLayoutIdLst>
  <p:hf sldNum="0" hdr="0" ftr="0" dt="0"/>
  <p:txStyles>
    <p:titleStyle>
      <a:lvl1pPr algn="l" defTabSz="685628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rgbClr val="094E5D"/>
          </a:solidFill>
          <a:latin typeface="+mj-lt"/>
          <a:ea typeface="+mj-ea"/>
          <a:cs typeface="+mj-cs"/>
        </a:defRPr>
      </a:lvl1pPr>
    </p:titleStyle>
    <p:bodyStyle>
      <a:lvl1pPr marL="103940" indent="-103940" algn="l" defTabSz="685628" rtl="0" eaLnBrk="1" latinLnBrk="0" hangingPunct="1">
        <a:lnSpc>
          <a:spcPct val="97000"/>
        </a:lnSpc>
        <a:spcBef>
          <a:spcPts val="1800"/>
        </a:spcBef>
        <a:buFont typeface="Arial" panose="020B0604020202020204" pitchFamily="34" charset="0"/>
        <a:buChar char="•"/>
        <a:defRPr sz="1600" kern="1200">
          <a:solidFill>
            <a:srgbClr val="094E5D"/>
          </a:solidFill>
          <a:latin typeface="+mn-lt"/>
          <a:ea typeface="+mn-ea"/>
          <a:cs typeface="+mn-cs"/>
        </a:defRPr>
      </a:lvl1pPr>
      <a:lvl2pPr marL="252000" indent="-103940" algn="l" defTabSz="685628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2pPr>
      <a:lvl3pPr marL="432000" indent="-103940" algn="l" defTabSz="685628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3pPr>
      <a:lvl4pPr marL="612000" indent="-103940" algn="l" defTabSz="685628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4pPr>
      <a:lvl5pPr marL="792000" indent="-103940" algn="l" defTabSz="685628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5pPr>
      <a:lvl6pPr marL="1885478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93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107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3922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15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28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43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57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72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85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00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15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D4B094C-E05C-44A2-A672-D9B6FCD165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00587158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24" imgH="623" progId="TCLayout.ActiveDocument.1">
                  <p:embed/>
                </p:oleObj>
              </mc:Choice>
              <mc:Fallback>
                <p:oleObj name="think-cell Slide" r:id="rId26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D4B094C-E05C-44A2-A672-D9B6FCD165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A248761-9897-41ED-90B0-8EEC8F8F395E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 Nova Light" panose="020B0304020202020204" pitchFamily="34" charset="0"/>
              <a:ea typeface="+mj-ea"/>
              <a:cs typeface="+mj-cs"/>
              <a:sym typeface="Arial Nova Light" panose="020B03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7760" y="623059"/>
            <a:ext cx="8048481" cy="476147"/>
          </a:xfrm>
          <a:prstGeom prst="rect">
            <a:avLst/>
          </a:prstGeom>
        </p:spPr>
        <p:txBody>
          <a:bodyPr vert="horz" lIns="45720" tIns="22860" rIns="45720" bIns="2286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760" y="1393843"/>
            <a:ext cx="8048481" cy="3238883"/>
          </a:xfrm>
          <a:prstGeom prst="rect">
            <a:avLst/>
          </a:prstGeom>
        </p:spPr>
        <p:txBody>
          <a:bodyPr vert="horz" lIns="45720" tIns="22860" rIns="45720" bIns="2286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7761" y="4794572"/>
            <a:ext cx="562187" cy="273844"/>
          </a:xfrm>
          <a:prstGeom prst="rect">
            <a:avLst/>
          </a:prstGeom>
        </p:spPr>
        <p:txBody>
          <a:bodyPr vert="horz" lIns="0" tIns="22860" rIns="0" bIns="22860" rtlCol="0" anchor="ctr"/>
          <a:lstStyle>
            <a:lvl1pPr algn="l">
              <a:defRPr sz="638">
                <a:solidFill>
                  <a:srgbClr val="404040"/>
                </a:solidFill>
              </a:defRPr>
            </a:lvl1pPr>
          </a:lstStyle>
          <a:p>
            <a:fld id="{794C2AEC-A073-364D-81B6-67774822CBAC}" type="datetime1">
              <a:t>5/3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396" y="4794572"/>
            <a:ext cx="6673845" cy="27384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lvl1pPr algn="l">
              <a:defRPr sz="638">
                <a:solidFill>
                  <a:srgbClr val="40404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9948" y="4794572"/>
            <a:ext cx="812449" cy="27384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lvl1pPr algn="ctr">
              <a:defRPr sz="638">
                <a:solidFill>
                  <a:srgbClr val="404040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863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  <p:txStyles>
    <p:titleStyle>
      <a:lvl1pPr algn="l" defTabSz="685611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rgbClr val="094E5D"/>
          </a:solidFill>
          <a:latin typeface="+mj-lt"/>
          <a:ea typeface="+mj-ea"/>
          <a:cs typeface="+mj-cs"/>
        </a:defRPr>
      </a:lvl1pPr>
    </p:titleStyle>
    <p:bodyStyle>
      <a:lvl1pPr marL="103937" indent="-103937" algn="l" defTabSz="685611" rtl="0" eaLnBrk="1" latinLnBrk="0" hangingPunct="1">
        <a:lnSpc>
          <a:spcPct val="97000"/>
        </a:lnSpc>
        <a:spcBef>
          <a:spcPts val="1800"/>
        </a:spcBef>
        <a:buFont typeface="Arial" panose="020B0604020202020204" pitchFamily="34" charset="0"/>
        <a:buChar char="•"/>
        <a:defRPr sz="1600" kern="1200">
          <a:solidFill>
            <a:srgbClr val="094E5D"/>
          </a:solidFill>
          <a:latin typeface="+mn-lt"/>
          <a:ea typeface="+mn-ea"/>
          <a:cs typeface="+mn-cs"/>
        </a:defRPr>
      </a:lvl1pPr>
      <a:lvl2pPr marL="251994" indent="-103937" algn="l" defTabSz="685611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2pPr>
      <a:lvl3pPr marL="431990" indent="-103937" algn="l" defTabSz="685611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3pPr>
      <a:lvl4pPr marL="611985" indent="-103937" algn="l" defTabSz="685611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4pPr>
      <a:lvl5pPr marL="791981" indent="-103937" algn="l" defTabSz="685611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5pPr>
      <a:lvl6pPr marL="1885431" indent="-171403" algn="l" defTabSz="6856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37" indent="-171403" algn="l" defTabSz="6856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43" indent="-171403" algn="l" defTabSz="6856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49" indent="-171403" algn="l" defTabSz="6856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1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6" algn="l" defTabSz="68561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1" algn="l" defTabSz="68561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17" algn="l" defTabSz="68561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23" algn="l" defTabSz="68561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29" algn="l" defTabSz="68561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34" algn="l" defTabSz="68561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40" algn="l" defTabSz="68561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46" algn="l" defTabSz="68561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Relationship Id="rId6" Type="http://schemas.microsoft.com/office/2007/relationships/hdphoto" Target="../media/hdphoto2.wdp"/><Relationship Id="rId5" Type="http://schemas.openxmlformats.org/officeDocument/2006/relationships/image" Target="../media/image40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svg"/><Relationship Id="rId3" Type="http://schemas.openxmlformats.org/officeDocument/2006/relationships/image" Target="../media/image26.png"/><Relationship Id="rId7" Type="http://schemas.openxmlformats.org/officeDocument/2006/relationships/image" Target="../media/image51.svg"/><Relationship Id="rId12" Type="http://schemas.openxmlformats.org/officeDocument/2006/relationships/image" Target="../media/image56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0.png"/><Relationship Id="rId11" Type="http://schemas.openxmlformats.org/officeDocument/2006/relationships/image" Target="../media/image55.svg"/><Relationship Id="rId5" Type="http://schemas.openxmlformats.org/officeDocument/2006/relationships/image" Target="../media/image49.sv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svg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6.png"/><Relationship Id="rId7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6.png"/><Relationship Id="rId7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6.png"/><Relationship Id="rId7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5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6" Type="http://schemas.microsoft.com/office/2007/relationships/hdphoto" Target="../media/hdphoto3.wdp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9.png"/><Relationship Id="rId4" Type="http://schemas.openxmlformats.org/officeDocument/2006/relationships/image" Target="../media/image2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6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6" Type="http://schemas.microsoft.com/office/2007/relationships/hdphoto" Target="../media/hdphoto1.wdp"/><Relationship Id="rId5" Type="http://schemas.openxmlformats.org/officeDocument/2006/relationships/image" Target="../media/image28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30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Relationship Id="rId9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image" Target="../media/image9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BAFC254-BB37-4024-B9FE-16626FAF66B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5000"/>
          </a:blip>
          <a:srcRect l="7792" t="3521" r="7790" b="20435"/>
          <a:stretch/>
        </p:blipFill>
        <p:spPr>
          <a:xfrm>
            <a:off x="1" y="1"/>
            <a:ext cx="9144000" cy="51435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1C4128B-BC53-4600-9E2E-47621D2B929B}"/>
              </a:ext>
            </a:extLst>
          </p:cNvPr>
          <p:cNvSpPr/>
          <p:nvPr/>
        </p:nvSpPr>
        <p:spPr>
          <a:xfrm>
            <a:off x="0" y="3747409"/>
            <a:ext cx="9144000" cy="1403179"/>
          </a:xfrm>
          <a:prstGeom prst="rect">
            <a:avLst/>
          </a:prstGeom>
          <a:solidFill>
            <a:srgbClr val="E5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ABD091B-B034-4A2C-ADCC-DAE42C2BC24C}"/>
              </a:ext>
            </a:extLst>
          </p:cNvPr>
          <p:cNvGrpSpPr/>
          <p:nvPr/>
        </p:nvGrpSpPr>
        <p:grpSpPr>
          <a:xfrm>
            <a:off x="512354" y="3894321"/>
            <a:ext cx="4829789" cy="1064924"/>
            <a:chOff x="3874184" y="4103206"/>
            <a:chExt cx="4829789" cy="1023470"/>
          </a:xfrm>
        </p:grpSpPr>
        <p:sp>
          <p:nvSpPr>
            <p:cNvPr id="7" name="Title 1">
              <a:extLst>
                <a:ext uri="{FF2B5EF4-FFF2-40B4-BE49-F238E27FC236}">
                  <a16:creationId xmlns:a16="http://schemas.microsoft.com/office/drawing/2014/main" id="{6FA07C1A-6FBF-4827-86F9-E0A6C87F64C4}"/>
                </a:ext>
              </a:extLst>
            </p:cNvPr>
            <p:cNvSpPr txBox="1">
              <a:spLocks/>
            </p:cNvSpPr>
            <p:nvPr/>
          </p:nvSpPr>
          <p:spPr>
            <a:xfrm>
              <a:off x="3896128" y="4398423"/>
              <a:ext cx="4807845" cy="728253"/>
            </a:xfrm>
            <a:prstGeom prst="rect">
              <a:avLst/>
            </a:prstGeom>
          </p:spPr>
          <p:txBody>
            <a:bodyPr vert="horz" lIns="45720" tIns="22860" rIns="45720" bIns="22860" rtlCol="0" anchor="t">
              <a:noAutofit/>
            </a:bodyPr>
            <a:lstStyle>
              <a:lvl1pPr algn="l" defTabSz="685628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2800" b="1" kern="1200">
                  <a:solidFill>
                    <a:srgbClr val="E5E3D9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68562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C222C"/>
                  </a:solidFill>
                  <a:effectLst/>
                  <a:uLnTx/>
                  <a:uFillTx/>
                  <a:latin typeface="Arial Nova Light"/>
                  <a:ea typeface="+mj-ea"/>
                  <a:cs typeface="+mj-cs"/>
                </a:rPr>
                <a:t>Measuring Risk in Cloud Infrastructure &amp; Cybersecurity</a:t>
              </a:r>
            </a:p>
          </p:txBody>
        </p:sp>
        <p:sp>
          <p:nvSpPr>
            <p:cNvPr id="8" name="Subtitle 2">
              <a:extLst>
                <a:ext uri="{FF2B5EF4-FFF2-40B4-BE49-F238E27FC236}">
                  <a16:creationId xmlns:a16="http://schemas.microsoft.com/office/drawing/2014/main" id="{7CD19BFF-8AF7-4E7B-AB58-B0166F9313AD}"/>
                </a:ext>
              </a:extLst>
            </p:cNvPr>
            <p:cNvSpPr txBox="1">
              <a:spLocks/>
            </p:cNvSpPr>
            <p:nvPr/>
          </p:nvSpPr>
          <p:spPr>
            <a:xfrm>
              <a:off x="3874184" y="4103206"/>
              <a:ext cx="1768501" cy="387459"/>
            </a:xfrm>
            <a:prstGeom prst="rect">
              <a:avLst/>
            </a:prstGeom>
          </p:spPr>
          <p:txBody>
            <a:bodyPr/>
            <a:lstStyle>
              <a:lvl1pPr marL="103940" indent="-103940" algn="l" defTabSz="685628" rtl="0" eaLnBrk="1" latinLnBrk="0" hangingPunct="1">
                <a:lnSpc>
                  <a:spcPct val="97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rgbClr val="094E5D"/>
                  </a:solidFill>
                  <a:latin typeface="+mn-lt"/>
                  <a:ea typeface="+mn-ea"/>
                  <a:cs typeface="+mn-cs"/>
                </a:defRPr>
              </a:lvl1pPr>
              <a:lvl2pPr marL="252000" indent="-103940" algn="l" defTabSz="685628" rtl="0" eaLnBrk="1" latinLnBrk="0" hangingPunct="1">
                <a:lnSpc>
                  <a:spcPct val="97000"/>
                </a:lnSpc>
                <a:spcBef>
                  <a:spcPts val="450"/>
                </a:spcBef>
                <a:buClr>
                  <a:schemeClr val="accent3"/>
                </a:buClr>
                <a:buFont typeface="Arial" panose="020B0604020202020204" pitchFamily="34" charset="0"/>
                <a:buChar char="•"/>
                <a:defRPr sz="1200" kern="1200">
                  <a:solidFill>
                    <a:srgbClr val="094E5D"/>
                  </a:solidFill>
                  <a:latin typeface="+mn-lt"/>
                  <a:ea typeface="+mn-ea"/>
                  <a:cs typeface="+mn-cs"/>
                </a:defRPr>
              </a:lvl2pPr>
              <a:lvl3pPr marL="432000" indent="-103940" algn="l" defTabSz="685628" rtl="0" eaLnBrk="1" latinLnBrk="0" hangingPunct="1">
                <a:lnSpc>
                  <a:spcPct val="97000"/>
                </a:lnSpc>
                <a:spcBef>
                  <a:spcPts val="450"/>
                </a:spcBef>
                <a:buClr>
                  <a:schemeClr val="accent3"/>
                </a:buClr>
                <a:buFont typeface="Arial" panose="020B0604020202020204" pitchFamily="34" charset="0"/>
                <a:buChar char="•"/>
                <a:defRPr sz="1200" kern="1200">
                  <a:solidFill>
                    <a:srgbClr val="094E5D"/>
                  </a:solidFill>
                  <a:latin typeface="+mn-lt"/>
                  <a:ea typeface="+mn-ea"/>
                  <a:cs typeface="+mn-cs"/>
                </a:defRPr>
              </a:lvl3pPr>
              <a:lvl4pPr marL="612000" indent="-103940" algn="l" defTabSz="685628" rtl="0" eaLnBrk="1" latinLnBrk="0" hangingPunct="1">
                <a:lnSpc>
                  <a:spcPct val="97000"/>
                </a:lnSpc>
                <a:spcBef>
                  <a:spcPts val="450"/>
                </a:spcBef>
                <a:buClr>
                  <a:schemeClr val="accent3"/>
                </a:buClr>
                <a:buFont typeface="Arial" panose="020B0604020202020204" pitchFamily="34" charset="0"/>
                <a:buChar char="•"/>
                <a:defRPr sz="1200" kern="1200">
                  <a:solidFill>
                    <a:srgbClr val="094E5D"/>
                  </a:solidFill>
                  <a:latin typeface="+mn-lt"/>
                  <a:ea typeface="+mn-ea"/>
                  <a:cs typeface="+mn-cs"/>
                </a:defRPr>
              </a:lvl4pPr>
              <a:lvl5pPr marL="792000" indent="-103940" algn="l" defTabSz="685628" rtl="0" eaLnBrk="1" latinLnBrk="0" hangingPunct="1">
                <a:lnSpc>
                  <a:spcPct val="97000"/>
                </a:lnSpc>
                <a:spcBef>
                  <a:spcPts val="450"/>
                </a:spcBef>
                <a:buClr>
                  <a:schemeClr val="accent3"/>
                </a:buClr>
                <a:buFont typeface="Arial" panose="020B0604020202020204" pitchFamily="34" charset="0"/>
                <a:buChar char="•"/>
                <a:defRPr sz="1200" kern="1200">
                  <a:solidFill>
                    <a:srgbClr val="094E5D"/>
                  </a:solidFill>
                  <a:latin typeface="+mn-lt"/>
                  <a:ea typeface="+mn-ea"/>
                  <a:cs typeface="+mn-cs"/>
                </a:defRPr>
              </a:lvl5pPr>
              <a:lvl6pPr marL="1885478" indent="-171407" algn="l" defTabSz="685628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293" indent="-171407" algn="l" defTabSz="685628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107" indent="-171407" algn="l" defTabSz="685628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3922" indent="-171407" algn="l" defTabSz="685628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628" rtl="0" eaLnBrk="1" fontAlgn="auto" latinLnBrk="0" hangingPunct="1">
                <a:lnSpc>
                  <a:spcPct val="97000"/>
                </a:lnSpc>
                <a:spcBef>
                  <a:spcPts val="18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6A4C"/>
                  </a:solidFill>
                  <a:effectLst/>
                  <a:uLnTx/>
                  <a:uFillTx/>
                  <a:latin typeface="Arial Nova Light"/>
                  <a:ea typeface="+mn-ea"/>
                  <a:cs typeface="+mn-cs"/>
                </a:rPr>
                <a:t>NIC 2022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9CA75C94-C00F-4D5A-EE8A-088F7C9185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003055" y="3894322"/>
            <a:ext cx="1961433" cy="64497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899E557-214C-E368-4E77-B3CB4F4E42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68707" y="575114"/>
            <a:ext cx="4406585" cy="2590094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4B246018-2A65-0C00-DE97-DD72D664C9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/>
        </p:blipFill>
        <p:spPr bwMode="auto">
          <a:xfrm>
            <a:off x="7162800" y="4353156"/>
            <a:ext cx="1676400" cy="691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83334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D091AF-32EE-4782-478A-C0E971D5D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is expensiv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976909-94F6-E6F6-5DB2-D465A711F7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050" dirty="0">
                <a:solidFill>
                  <a:schemeClr val="accent1"/>
                </a:solidFill>
              </a:rPr>
              <a:t>WHAT IS THE PROBLEM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3459189-F0FD-33F1-7402-D7CBD647D2C2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Never has a value itself</a:t>
            </a:r>
          </a:p>
          <a:p>
            <a: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What does the investment enable?</a:t>
            </a:r>
          </a:p>
          <a:p>
            <a: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How do I measure the value of IT infrastructure?</a:t>
            </a:r>
          </a:p>
          <a:p>
            <a: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How do I measure infrastructure risk?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564D4C8-F5B7-6D80-09DE-7DC8ACDD7AAF}"/>
              </a:ext>
            </a:extLst>
          </p:cNvPr>
          <p:cNvGrpSpPr/>
          <p:nvPr/>
        </p:nvGrpSpPr>
        <p:grpSpPr>
          <a:xfrm>
            <a:off x="6854196" y="4723158"/>
            <a:ext cx="2181855" cy="389182"/>
            <a:chOff x="5644521" y="4723158"/>
            <a:chExt cx="2181855" cy="38918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0E244B3-78FF-54A7-4EBE-3C2C766ADF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4521" y="4723158"/>
              <a:ext cx="1181729" cy="389182"/>
            </a:xfrm>
            <a:prstGeom prst="rect">
              <a:avLst/>
            </a:prstGeom>
          </p:spPr>
        </p:pic>
        <p:pic>
          <p:nvPicPr>
            <p:cNvPr id="8" name="Picture 2" descr="Risk Modeling and Management | Quantitative Decision Analysis | Value  Measurements of Intangibles">
              <a:extLst>
                <a:ext uri="{FF2B5EF4-FFF2-40B4-BE49-F238E27FC236}">
                  <a16:creationId xmlns:a16="http://schemas.microsoft.com/office/drawing/2014/main" id="{FBD3349A-6A08-4293-CBE0-63DD2AF13E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250" y="4799331"/>
              <a:ext cx="1000126" cy="236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FC4D81D-936C-AB31-0B07-260E07A67F20}"/>
              </a:ext>
            </a:extLst>
          </p:cNvPr>
          <p:cNvGrpSpPr/>
          <p:nvPr/>
        </p:nvGrpSpPr>
        <p:grpSpPr>
          <a:xfrm>
            <a:off x="4594280" y="873124"/>
            <a:ext cx="3995928" cy="3237231"/>
            <a:chOff x="5843048" y="743584"/>
            <a:chExt cx="3995928" cy="323723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8F05F7D-89B5-993F-E858-056002DFBB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35153" b="6692"/>
            <a:stretch/>
          </p:blipFill>
          <p:spPr>
            <a:xfrm>
              <a:off x="5843048" y="743584"/>
              <a:ext cx="3995928" cy="323723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E5CBAF7-7488-27EF-B784-0D20C660E8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5153" b="6692"/>
            <a:stretch/>
          </p:blipFill>
          <p:spPr>
            <a:xfrm>
              <a:off x="5843048" y="743584"/>
              <a:ext cx="3995928" cy="32372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97388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9BDF81-A4E2-165C-9E0C-624BA3A5F2D4}"/>
              </a:ext>
            </a:extLst>
          </p:cNvPr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D091AF-32EE-4782-478A-C0E971D5D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dirty="0"/>
              <a:t>Assessments alone don't provide a full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976909-94F6-E6F6-5DB2-D465A711F7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050" dirty="0">
                <a:solidFill>
                  <a:schemeClr val="accent1"/>
                </a:solidFill>
              </a:rPr>
              <a:t>WHAT IS THE PROBLEM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3459189-F0FD-33F1-7402-D7CBD647D2C2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Good at "scoring" against benchmarks</a:t>
            </a:r>
          </a:p>
          <a:p>
            <a: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Research shows scores introduce errors, may be an “Analysis Placebo” and don’t guide practical decisions about where to allocate resourc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564D4C8-F5B7-6D80-09DE-7DC8ACDD7AAF}"/>
              </a:ext>
            </a:extLst>
          </p:cNvPr>
          <p:cNvGrpSpPr/>
          <p:nvPr/>
        </p:nvGrpSpPr>
        <p:grpSpPr>
          <a:xfrm>
            <a:off x="547760" y="4723158"/>
            <a:ext cx="2181855" cy="389182"/>
            <a:chOff x="5644521" y="4723158"/>
            <a:chExt cx="2181855" cy="38918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0E244B3-78FF-54A7-4EBE-3C2C766ADF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4521" y="4723158"/>
              <a:ext cx="1181729" cy="389182"/>
            </a:xfrm>
            <a:prstGeom prst="rect">
              <a:avLst/>
            </a:prstGeom>
          </p:spPr>
        </p:pic>
        <p:pic>
          <p:nvPicPr>
            <p:cNvPr id="8" name="Picture 2" descr="Risk Modeling and Management | Quantitative Decision Analysis | Value  Measurements of Intangibles">
              <a:extLst>
                <a:ext uri="{FF2B5EF4-FFF2-40B4-BE49-F238E27FC236}">
                  <a16:creationId xmlns:a16="http://schemas.microsoft.com/office/drawing/2014/main" id="{FBD3349A-6A08-4293-CBE0-63DD2AF13E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250" y="4799331"/>
              <a:ext cx="1000126" cy="236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2" name="Picture 5" descr="Chart, bubble chart&#10;&#10;Description automatically generated">
            <a:extLst>
              <a:ext uri="{FF2B5EF4-FFF2-40B4-BE49-F238E27FC236}">
                <a16:creationId xmlns:a16="http://schemas.microsoft.com/office/drawing/2014/main" id="{1E7883D9-4273-6BAF-412C-D55B788C75B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5523" b="5523"/>
          <a:stretch/>
        </p:blipFill>
        <p:spPr>
          <a:xfrm>
            <a:off x="5017477" y="2063248"/>
            <a:ext cx="2648344" cy="1777273"/>
          </a:xfrm>
          <a:prstGeom prst="rect">
            <a:avLst/>
          </a:prstGeom>
        </p:spPr>
      </p:pic>
      <p:pic>
        <p:nvPicPr>
          <p:cNvPr id="13" name="Picture 6" descr="Text&#10;&#10;Description automatically generated">
            <a:extLst>
              <a:ext uri="{FF2B5EF4-FFF2-40B4-BE49-F238E27FC236}">
                <a16:creationId xmlns:a16="http://schemas.microsoft.com/office/drawing/2014/main" id="{5CAD1B9F-5F3E-9662-2E90-D0FF67723C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17477" y="303355"/>
            <a:ext cx="3681046" cy="1664887"/>
          </a:xfrm>
          <a:prstGeom prst="rect">
            <a:avLst/>
          </a:prstGeom>
        </p:spPr>
      </p:pic>
      <p:pic>
        <p:nvPicPr>
          <p:cNvPr id="14" name="Picture 6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655A90DA-FE4E-C646-B224-E706E0D72017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399064" y="3888024"/>
            <a:ext cx="2299459" cy="1207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337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364FBF-FBF3-4D88-840E-C16CA30698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60" y="2112917"/>
            <a:ext cx="3725548" cy="917665"/>
          </a:xfrm>
        </p:spPr>
        <p:txBody>
          <a:bodyPr/>
          <a:lstStyle/>
          <a:p>
            <a:r>
              <a:rPr lang="en-US" dirty="0"/>
              <a:t>What is the solution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B15EFE-3089-0672-CF8F-E17FA5BD42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906" r="15074"/>
          <a:stretch/>
        </p:blipFill>
        <p:spPr>
          <a:xfrm>
            <a:off x="4752975" y="1"/>
            <a:ext cx="439102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748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D091AF-32EE-4782-478A-C0E971D5D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Decision Intellige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976909-94F6-E6F6-5DB2-D465A711F7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050" dirty="0">
                <a:solidFill>
                  <a:schemeClr val="accent1"/>
                </a:solidFill>
              </a:rPr>
              <a:t>WHAT IS THE SOLUTION?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564D4C8-F5B7-6D80-09DE-7DC8ACDD7AAF}"/>
              </a:ext>
            </a:extLst>
          </p:cNvPr>
          <p:cNvGrpSpPr/>
          <p:nvPr/>
        </p:nvGrpSpPr>
        <p:grpSpPr>
          <a:xfrm>
            <a:off x="6811400" y="4692678"/>
            <a:ext cx="2181855" cy="389182"/>
            <a:chOff x="5644521" y="4723158"/>
            <a:chExt cx="2181855" cy="38918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0E244B3-78FF-54A7-4EBE-3C2C766ADF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4521" y="4723158"/>
              <a:ext cx="1181729" cy="389182"/>
            </a:xfrm>
            <a:prstGeom prst="rect">
              <a:avLst/>
            </a:prstGeom>
          </p:spPr>
        </p:pic>
        <p:pic>
          <p:nvPicPr>
            <p:cNvPr id="8" name="Picture 2" descr="Risk Modeling and Management | Quantitative Decision Analysis | Value  Measurements of Intangibles">
              <a:extLst>
                <a:ext uri="{FF2B5EF4-FFF2-40B4-BE49-F238E27FC236}">
                  <a16:creationId xmlns:a16="http://schemas.microsoft.com/office/drawing/2014/main" id="{FBD3349A-6A08-4293-CBE0-63DD2AF13E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250" y="4799331"/>
              <a:ext cx="1000126" cy="236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61CA7764-B3EB-E33A-10D4-A2310078FBC0}"/>
              </a:ext>
            </a:extLst>
          </p:cNvPr>
          <p:cNvSpPr txBox="1"/>
          <p:nvPr/>
        </p:nvSpPr>
        <p:spPr>
          <a:xfrm>
            <a:off x="6484868" y="1185011"/>
            <a:ext cx="18347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2"/>
                </a:solidFill>
                <a:latin typeface="+mj-lt"/>
              </a:rPr>
              <a:t>ML/AI/Big Data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87BA869-AB0C-A05A-A029-D384F7C7510B}"/>
              </a:ext>
            </a:extLst>
          </p:cNvPr>
          <p:cNvGrpSpPr/>
          <p:nvPr/>
        </p:nvGrpSpPr>
        <p:grpSpPr>
          <a:xfrm>
            <a:off x="4668018" y="1546072"/>
            <a:ext cx="3825174" cy="2526729"/>
            <a:chOff x="4563210" y="2203972"/>
            <a:chExt cx="3825174" cy="2526729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A2CE6626-B6E8-7E9A-66D4-C42835BF5967}"/>
                </a:ext>
              </a:extLst>
            </p:cNvPr>
            <p:cNvSpPr/>
            <p:nvPr/>
          </p:nvSpPr>
          <p:spPr>
            <a:xfrm>
              <a:off x="4563210" y="2211232"/>
              <a:ext cx="2463605" cy="247348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19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08B1D60-3427-3B21-F9D7-0670691A693F}"/>
                </a:ext>
              </a:extLst>
            </p:cNvPr>
            <p:cNvSpPr/>
            <p:nvPr/>
          </p:nvSpPr>
          <p:spPr>
            <a:xfrm>
              <a:off x="5924779" y="2257215"/>
              <a:ext cx="2463605" cy="247348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19" dirty="0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61B2CC8-875E-C90D-0E5E-9105D4B29BA9}"/>
                </a:ext>
              </a:extLst>
            </p:cNvPr>
            <p:cNvGrpSpPr/>
            <p:nvPr/>
          </p:nvGrpSpPr>
          <p:grpSpPr>
            <a:xfrm>
              <a:off x="4580584" y="2838549"/>
              <a:ext cx="1871586" cy="1405244"/>
              <a:chOff x="4599634" y="2717288"/>
              <a:chExt cx="1871586" cy="1405244"/>
            </a:xfrm>
          </p:grpSpPr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1C662A12-EA41-6B82-15D5-629C3FB2E3E8}"/>
                  </a:ext>
                </a:extLst>
              </p:cNvPr>
              <p:cNvSpPr txBox="1"/>
              <p:nvPr/>
            </p:nvSpPr>
            <p:spPr>
              <a:xfrm flipH="1">
                <a:off x="4634863" y="3103629"/>
                <a:ext cx="156261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>
                    <a:solidFill>
                      <a:schemeClr val="bg1"/>
                    </a:solidFill>
                  </a:rPr>
                  <a:t>Decision Analysis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F87875A7-5A8C-DA11-1090-EED357E96878}"/>
                  </a:ext>
                </a:extLst>
              </p:cNvPr>
              <p:cNvSpPr txBox="1"/>
              <p:nvPr/>
            </p:nvSpPr>
            <p:spPr>
              <a:xfrm flipH="1">
                <a:off x="4805463" y="3876311"/>
                <a:ext cx="166575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>
                    <a:solidFill>
                      <a:schemeClr val="bg1"/>
                    </a:solidFill>
                  </a:rPr>
                  <a:t>Empirical Methods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86765CC7-C644-862D-6C06-C7D59070F7C5}"/>
                  </a:ext>
                </a:extLst>
              </p:cNvPr>
              <p:cNvSpPr txBox="1"/>
              <p:nvPr/>
            </p:nvSpPr>
            <p:spPr>
              <a:xfrm flipH="1">
                <a:off x="4599634" y="3489970"/>
                <a:ext cx="156261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>
                    <a:solidFill>
                      <a:schemeClr val="bg1"/>
                    </a:solidFill>
                  </a:rPr>
                  <a:t>Economic Optimization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C24476E4-0F44-6672-FD51-75B93982BBAB}"/>
                  </a:ext>
                </a:extLst>
              </p:cNvPr>
              <p:cNvSpPr txBox="1"/>
              <p:nvPr/>
            </p:nvSpPr>
            <p:spPr>
              <a:xfrm flipH="1">
                <a:off x="4805463" y="2717288"/>
                <a:ext cx="165882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>
                    <a:solidFill>
                      <a:schemeClr val="bg1"/>
                    </a:solidFill>
                  </a:rPr>
                  <a:t>Game Theory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1200551-8FDA-E27E-84DF-E46CCF391464}"/>
                </a:ext>
              </a:extLst>
            </p:cNvPr>
            <p:cNvGrpSpPr/>
            <p:nvPr/>
          </p:nvGrpSpPr>
          <p:grpSpPr>
            <a:xfrm>
              <a:off x="7026814" y="2854160"/>
              <a:ext cx="1271260" cy="1333301"/>
              <a:chOff x="7026814" y="2854160"/>
              <a:chExt cx="1271260" cy="1333301"/>
            </a:xfrm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DF6BEDAB-B220-6A09-81BB-3E285D37D7B1}"/>
                  </a:ext>
                </a:extLst>
              </p:cNvPr>
              <p:cNvSpPr txBox="1"/>
              <p:nvPr/>
            </p:nvSpPr>
            <p:spPr>
              <a:xfrm flipH="1">
                <a:off x="7098468" y="3474645"/>
                <a:ext cx="1199606" cy="24622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algn="r"/>
                <a:r>
                  <a:rPr lang="en-US" sz="1000" dirty="0">
                    <a:solidFill>
                      <a:schemeClr val="bg1"/>
                    </a:solidFill>
                  </a:rPr>
                  <a:t>Machine Learning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7EF518AF-74D9-F961-DE0C-B8A36D3C4437}"/>
                  </a:ext>
                </a:extLst>
              </p:cNvPr>
              <p:cNvSpPr txBox="1"/>
              <p:nvPr/>
            </p:nvSpPr>
            <p:spPr>
              <a:xfrm flipH="1">
                <a:off x="7026814" y="2854160"/>
                <a:ext cx="1119316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000" dirty="0">
                    <a:solidFill>
                      <a:schemeClr val="bg1"/>
                    </a:solidFill>
                  </a:rPr>
                  <a:t>Artificial Intelligence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54055DFC-771A-1B35-0E1A-4B0F0209C046}"/>
                  </a:ext>
                </a:extLst>
              </p:cNvPr>
              <p:cNvSpPr txBox="1"/>
              <p:nvPr/>
            </p:nvSpPr>
            <p:spPr>
              <a:xfrm flipH="1">
                <a:off x="7043888" y="3941240"/>
                <a:ext cx="108516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000" dirty="0">
                    <a:solidFill>
                      <a:schemeClr val="bg1"/>
                    </a:solidFill>
                  </a:rPr>
                  <a:t>Big Data</a:t>
                </a:r>
              </a:p>
            </p:txBody>
          </p: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A4B3939-3C7B-3A73-3DB0-02F17B0E2BAD}"/>
                </a:ext>
              </a:extLst>
            </p:cNvPr>
            <p:cNvSpPr txBox="1"/>
            <p:nvPr/>
          </p:nvSpPr>
          <p:spPr>
            <a:xfrm flipH="1">
              <a:off x="5834469" y="3190406"/>
              <a:ext cx="135430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ova" panose="020B0504020202020204" pitchFamily="34" charset="0"/>
                </a:rPr>
                <a:t>Decision 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ova" panose="020B0504020202020204" pitchFamily="34" charset="0"/>
                </a:rPr>
                <a:t>Intelligence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B9ACDF4-919D-BC02-0DA5-DE7D0E99D2F2}"/>
                </a:ext>
              </a:extLst>
            </p:cNvPr>
            <p:cNvSpPr/>
            <p:nvPr/>
          </p:nvSpPr>
          <p:spPr>
            <a:xfrm>
              <a:off x="4563210" y="2203972"/>
              <a:ext cx="2463605" cy="2473486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19" dirty="0"/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578A8E9-0B21-5918-BF7E-9A6A06BB15B7}"/>
              </a:ext>
            </a:extLst>
          </p:cNvPr>
          <p:cNvSpPr txBox="1"/>
          <p:nvPr/>
        </p:nvSpPr>
        <p:spPr>
          <a:xfrm>
            <a:off x="4781640" y="1185012"/>
            <a:ext cx="18347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2"/>
                </a:solidFill>
                <a:latin typeface="+mj-lt"/>
              </a:rPr>
              <a:t>Decision Scienc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30A43A0-B98C-20E8-2810-5FB191215F35}"/>
              </a:ext>
            </a:extLst>
          </p:cNvPr>
          <p:cNvSpPr txBox="1"/>
          <p:nvPr/>
        </p:nvSpPr>
        <p:spPr>
          <a:xfrm>
            <a:off x="204392" y="2513615"/>
            <a:ext cx="607884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Decision Theory &amp; Decision Analysis best practices</a:t>
            </a:r>
          </a:p>
          <a:p>
            <a:pPr marL="285750" indent="-285750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Platform based on Machine Intelligence conventions</a:t>
            </a:r>
            <a:endParaRPr lang="en-US" sz="1400" dirty="0">
              <a:solidFill>
                <a:schemeClr val="accent1"/>
              </a:solidFill>
            </a:endParaRPr>
          </a:p>
          <a:p>
            <a:pPr marL="285750" indent="-285750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Ability to work with existing AI &amp; ML models</a:t>
            </a:r>
          </a:p>
          <a:p>
            <a:pPr marL="285750" indent="-285750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Trusted Responsible AI practices</a:t>
            </a:r>
          </a:p>
          <a:p>
            <a:pPr marL="285750" indent="-285750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Decision System Enterprise deployment</a:t>
            </a:r>
          </a:p>
          <a:p>
            <a:pPr marL="285750" indent="-285750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Purposeful decision optimization capabilities</a:t>
            </a:r>
          </a:p>
          <a:p>
            <a:pPr marL="285750" indent="-285750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Optimized human &amp; decision system interaction</a:t>
            </a:r>
          </a:p>
          <a:p>
            <a:pPr marL="285750" indent="-285750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Focused on long-term decision health optimization</a:t>
            </a:r>
          </a:p>
        </p:txBody>
      </p:sp>
    </p:spTree>
    <p:extLst>
      <p:ext uri="{BB962C8B-B14F-4D97-AF65-F5344CB8AC3E}">
        <p14:creationId xmlns:p14="http://schemas.microsoft.com/office/powerpoint/2010/main" val="2432551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D091AF-32EE-4782-478A-C0E971D5D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Teams, </a:t>
            </a:r>
            <a:br>
              <a:rPr lang="en-US" dirty="0"/>
            </a:br>
            <a:r>
              <a:rPr lang="en-US" dirty="0"/>
              <a:t>One Go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976909-94F6-E6F6-5DB2-D465A711F7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050" dirty="0">
                <a:solidFill>
                  <a:schemeClr val="accent1"/>
                </a:solidFill>
              </a:rPr>
              <a:t>WHAT IS THE SOLUTION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3459189-F0FD-33F1-7402-D7CBD647D2C2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>
              <a:buClr>
                <a:schemeClr val="accent1"/>
              </a:buClr>
            </a:pPr>
            <a:r>
              <a:rPr lang="en-US" dirty="0"/>
              <a:t>Crayon and HDR each specialize in key parts of making better decisions for your business.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564D4C8-F5B7-6D80-09DE-7DC8ACDD7AAF}"/>
              </a:ext>
            </a:extLst>
          </p:cNvPr>
          <p:cNvGrpSpPr/>
          <p:nvPr/>
        </p:nvGrpSpPr>
        <p:grpSpPr>
          <a:xfrm>
            <a:off x="6811400" y="4692678"/>
            <a:ext cx="2181855" cy="389182"/>
            <a:chOff x="5644521" y="4723158"/>
            <a:chExt cx="2181855" cy="38918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0E244B3-78FF-54A7-4EBE-3C2C766ADF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4521" y="4723158"/>
              <a:ext cx="1181729" cy="389182"/>
            </a:xfrm>
            <a:prstGeom prst="rect">
              <a:avLst/>
            </a:prstGeom>
          </p:spPr>
        </p:pic>
        <p:pic>
          <p:nvPicPr>
            <p:cNvPr id="8" name="Picture 2" descr="Risk Modeling and Management | Quantitative Decision Analysis | Value  Measurements of Intangibles">
              <a:extLst>
                <a:ext uri="{FF2B5EF4-FFF2-40B4-BE49-F238E27FC236}">
                  <a16:creationId xmlns:a16="http://schemas.microsoft.com/office/drawing/2014/main" id="{FBD3349A-6A08-4293-CBE0-63DD2AF13E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250" y="4799331"/>
              <a:ext cx="1000126" cy="236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0" name="Arrow: Left-Right 39">
            <a:extLst>
              <a:ext uri="{FF2B5EF4-FFF2-40B4-BE49-F238E27FC236}">
                <a16:creationId xmlns:a16="http://schemas.microsoft.com/office/drawing/2014/main" id="{0C1D78FC-B198-4C90-1501-DB4FF2BD5F2D}"/>
              </a:ext>
            </a:extLst>
          </p:cNvPr>
          <p:cNvSpPr/>
          <p:nvPr/>
        </p:nvSpPr>
        <p:spPr>
          <a:xfrm>
            <a:off x="4870695" y="1214244"/>
            <a:ext cx="3813738" cy="407892"/>
          </a:xfrm>
          <a:prstGeom prst="left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Experience Gradient</a:t>
            </a:r>
          </a:p>
        </p:txBody>
      </p:sp>
      <p:sp>
        <p:nvSpPr>
          <p:cNvPr id="41" name="Arrow: Down 40">
            <a:extLst>
              <a:ext uri="{FF2B5EF4-FFF2-40B4-BE49-F238E27FC236}">
                <a16:creationId xmlns:a16="http://schemas.microsoft.com/office/drawing/2014/main" id="{8D52B5E2-2D72-E7AE-3A80-17A6CB45F8A9}"/>
              </a:ext>
            </a:extLst>
          </p:cNvPr>
          <p:cNvSpPr/>
          <p:nvPr/>
        </p:nvSpPr>
        <p:spPr>
          <a:xfrm>
            <a:off x="6505408" y="3518441"/>
            <a:ext cx="544311" cy="360580"/>
          </a:xfrm>
          <a:prstGeom prst="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770A7C1-E318-ED68-F397-A7E31A40DE83}"/>
              </a:ext>
            </a:extLst>
          </p:cNvPr>
          <p:cNvSpPr/>
          <p:nvPr/>
        </p:nvSpPr>
        <p:spPr>
          <a:xfrm>
            <a:off x="4870695" y="1700161"/>
            <a:ext cx="3813738" cy="1818279"/>
          </a:xfrm>
          <a:prstGeom prst="rect">
            <a:avLst/>
          </a:prstGeom>
          <a:gradFill flip="none" rotWithShape="1">
            <a:gsLst>
              <a:gs pos="3500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 w="3175" cap="flat" cmpd="sng" algn="ctr">
            <a:solidFill>
              <a:schemeClr val="accent5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228557"/>
            <a:endParaRPr lang="en-US" sz="1200" dirty="0">
              <a:solidFill>
                <a:srgbClr val="E6E4D9"/>
              </a:solidFill>
              <a:latin typeface="Arial Nova" panose="020B05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FB1DEED-779F-5359-B06F-DB41F9B1F6B8}"/>
              </a:ext>
            </a:extLst>
          </p:cNvPr>
          <p:cNvSpPr/>
          <p:nvPr/>
        </p:nvSpPr>
        <p:spPr>
          <a:xfrm>
            <a:off x="4870695" y="3879020"/>
            <a:ext cx="3813738" cy="453078"/>
          </a:xfrm>
          <a:prstGeom prst="rect">
            <a:avLst/>
          </a:prstGeom>
          <a:solidFill>
            <a:srgbClr val="073B4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28557"/>
            <a:r>
              <a:rPr lang="en-US" sz="1200" dirty="0">
                <a:solidFill>
                  <a:srgbClr val="E6E4D9"/>
                </a:solidFill>
                <a:latin typeface="Arial Nova" panose="020B0504020202020204" pitchFamily="34" charset="0"/>
              </a:rPr>
              <a:t>Better Decis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0C0AB3A-A4A1-2E04-0DB8-71757A079233}"/>
              </a:ext>
            </a:extLst>
          </p:cNvPr>
          <p:cNvSpPr txBox="1"/>
          <p:nvPr/>
        </p:nvSpPr>
        <p:spPr>
          <a:xfrm rot="16200000">
            <a:off x="4595409" y="2454768"/>
            <a:ext cx="8785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bg2"/>
                </a:solidFill>
              </a:rPr>
              <a:t>More HDR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3FD589B-BA64-E7AB-E533-45E6ADC62D68}"/>
              </a:ext>
            </a:extLst>
          </p:cNvPr>
          <p:cNvSpPr txBox="1"/>
          <p:nvPr/>
        </p:nvSpPr>
        <p:spPr>
          <a:xfrm rot="5400000">
            <a:off x="8016214" y="2454769"/>
            <a:ext cx="10392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bg2"/>
                </a:solidFill>
              </a:rPr>
              <a:t>More Crayon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8888DCB-C53E-B937-C222-212DCB4A1B24}"/>
              </a:ext>
            </a:extLst>
          </p:cNvPr>
          <p:cNvGrpSpPr/>
          <p:nvPr/>
        </p:nvGrpSpPr>
        <p:grpSpPr>
          <a:xfrm>
            <a:off x="5339866" y="2011741"/>
            <a:ext cx="2943067" cy="1402793"/>
            <a:chOff x="5515201" y="2011741"/>
            <a:chExt cx="2943067" cy="1402793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658990D4-4517-D19C-800A-34EFA6C11915}"/>
                </a:ext>
              </a:extLst>
            </p:cNvPr>
            <p:cNvSpPr/>
            <p:nvPr/>
          </p:nvSpPr>
          <p:spPr>
            <a:xfrm>
              <a:off x="6264111" y="3032523"/>
              <a:ext cx="1449158" cy="382011"/>
            </a:xfrm>
            <a:prstGeom prst="roundRect">
              <a:avLst/>
            </a:prstGeom>
            <a:solidFill>
              <a:schemeClr val="accent6"/>
            </a:solidFill>
            <a:ln w="63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</a:rPr>
                <a:t>Improved Decision Models</a:t>
              </a:r>
            </a:p>
          </p:txBody>
        </p: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7DB9E9B8-7401-A458-E3B0-9AEECB05304C}"/>
                </a:ext>
              </a:extLst>
            </p:cNvPr>
            <p:cNvSpPr/>
            <p:nvPr/>
          </p:nvSpPr>
          <p:spPr>
            <a:xfrm>
              <a:off x="7009112" y="2011741"/>
              <a:ext cx="875081" cy="457200"/>
            </a:xfrm>
            <a:prstGeom prst="roundRect">
              <a:avLst/>
            </a:prstGeom>
            <a:solidFill>
              <a:schemeClr val="accent6"/>
            </a:solidFill>
            <a:ln w="63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</a:rPr>
                <a:t>Big Data</a:t>
              </a: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A32EE1DC-5155-080C-766D-440D3619933E}"/>
                </a:ext>
              </a:extLst>
            </p:cNvPr>
            <p:cNvSpPr/>
            <p:nvPr/>
          </p:nvSpPr>
          <p:spPr>
            <a:xfrm>
              <a:off x="6264111" y="2523434"/>
              <a:ext cx="704156" cy="457200"/>
            </a:xfrm>
            <a:prstGeom prst="roundRect">
              <a:avLst/>
            </a:prstGeom>
            <a:solidFill>
              <a:schemeClr val="accent6"/>
            </a:solidFill>
            <a:ln w="63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</a:rPr>
                <a:t>Designing Decisions</a:t>
              </a:r>
              <a:endParaRPr lang="en-US" sz="800" dirty="0">
                <a:solidFill>
                  <a:schemeClr val="tx1"/>
                </a:solidFill>
                <a:ea typeface="Verdana"/>
              </a:endParaRPr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86365A29-BC69-E82A-B2EA-7A677D4F8478}"/>
                </a:ext>
              </a:extLst>
            </p:cNvPr>
            <p:cNvSpPr/>
            <p:nvPr/>
          </p:nvSpPr>
          <p:spPr>
            <a:xfrm>
              <a:off x="7754112" y="2523434"/>
              <a:ext cx="704156" cy="457200"/>
            </a:xfrm>
            <a:prstGeom prst="roundRect">
              <a:avLst/>
            </a:prstGeom>
            <a:solidFill>
              <a:schemeClr val="accent6"/>
            </a:solidFill>
            <a:ln w="63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</a:rPr>
                <a:t>ML/AI</a:t>
              </a:r>
            </a:p>
          </p:txBody>
        </p: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F490D8BE-B0FA-53A3-D397-91C4CD8E6674}"/>
                </a:ext>
              </a:extLst>
            </p:cNvPr>
            <p:cNvSpPr/>
            <p:nvPr/>
          </p:nvSpPr>
          <p:spPr>
            <a:xfrm>
              <a:off x="5515201" y="2523434"/>
              <a:ext cx="708066" cy="457200"/>
            </a:xfrm>
            <a:prstGeom prst="roundRect">
              <a:avLst/>
            </a:prstGeom>
            <a:solidFill>
              <a:schemeClr val="accent6"/>
            </a:solidFill>
            <a:ln w="63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</a:rPr>
                <a:t>Calibrating Experts</a:t>
              </a:r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FBEB07C1-4909-CD43-DFAA-31B0E487DE80}"/>
                </a:ext>
              </a:extLst>
            </p:cNvPr>
            <p:cNvSpPr/>
            <p:nvPr/>
          </p:nvSpPr>
          <p:spPr>
            <a:xfrm>
              <a:off x="7009112" y="2523434"/>
              <a:ext cx="704156" cy="457200"/>
            </a:xfrm>
            <a:prstGeom prst="roundRect">
              <a:avLst/>
            </a:prstGeom>
            <a:solidFill>
              <a:schemeClr val="accent6"/>
            </a:solidFill>
            <a:ln w="63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Inferences</a:t>
              </a: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4C902429-7EC3-D147-8429-146D8D593027}"/>
                </a:ext>
              </a:extLst>
            </p:cNvPr>
            <p:cNvSpPr/>
            <p:nvPr/>
          </p:nvSpPr>
          <p:spPr>
            <a:xfrm>
              <a:off x="5880928" y="2011741"/>
              <a:ext cx="1065519" cy="457200"/>
            </a:xfrm>
            <a:prstGeom prst="roundRect">
              <a:avLst/>
            </a:prstGeom>
            <a:solidFill>
              <a:schemeClr val="accent6"/>
            </a:solidFill>
            <a:ln w="63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</a:rPr>
                <a:t>Original Empirical Research</a:t>
              </a:r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CAD5D690-1628-5DC8-836A-AD756F55BE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43072" y="3954732"/>
            <a:ext cx="301654" cy="301654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23B0F351-C35F-13F3-09E5-8653ED1AC4E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08858" y="3954732"/>
            <a:ext cx="301654" cy="301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444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88704EEC-D926-85EB-DB65-F9D5D89D9D1D}"/>
              </a:ext>
            </a:extLst>
          </p:cNvPr>
          <p:cNvSpPr txBox="1">
            <a:spLocks/>
          </p:cNvSpPr>
          <p:nvPr/>
        </p:nvSpPr>
        <p:spPr>
          <a:xfrm>
            <a:off x="488934" y="636174"/>
            <a:ext cx="8048481" cy="476147"/>
          </a:xfrm>
          <a:prstGeom prst="rect">
            <a:avLst/>
          </a:prstGeom>
        </p:spPr>
        <p:txBody>
          <a:bodyPr/>
          <a:lstStyle>
            <a:lvl1pPr algn="l" defTabSz="6856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rgbClr val="094E5D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61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j-ea"/>
                <a:cs typeface="+mj-cs"/>
              </a:rPr>
              <a:t>About HDR &amp; Applied Information Economics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4DA16F3-264B-806B-1084-E5EA3319E4F3}"/>
              </a:ext>
            </a:extLst>
          </p:cNvPr>
          <p:cNvSpPr txBox="1">
            <a:spLocks/>
          </p:cNvSpPr>
          <p:nvPr/>
        </p:nvSpPr>
        <p:spPr>
          <a:xfrm>
            <a:off x="488935" y="398968"/>
            <a:ext cx="8048482" cy="286554"/>
          </a:xfrm>
          <a:prstGeom prst="rect">
            <a:avLst/>
          </a:prstGeom>
        </p:spPr>
        <p:txBody>
          <a:bodyPr/>
          <a:lstStyle>
            <a:lvl1pPr marL="103937" indent="-103937" algn="l" defTabSz="685611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1pPr>
            <a:lvl2pPr marL="251994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2pPr>
            <a:lvl3pPr marL="431990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3pPr>
            <a:lvl4pPr marL="611985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4pPr>
            <a:lvl5pPr marL="791981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5pPr>
            <a:lvl6pPr marL="1885431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37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043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849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611" rtl="0" eaLnBrk="1" fontAlgn="auto" latinLnBrk="0" hangingPunct="1">
              <a:lnSpc>
                <a:spcPct val="97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6A4C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WHAT IS THE SOLUTION?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7B9CAB-51B4-05ED-B518-D0445F414634}"/>
              </a:ext>
            </a:extLst>
          </p:cNvPr>
          <p:cNvGrpSpPr/>
          <p:nvPr/>
        </p:nvGrpSpPr>
        <p:grpSpPr>
          <a:xfrm>
            <a:off x="6876141" y="4754318"/>
            <a:ext cx="2181855" cy="389182"/>
            <a:chOff x="5644521" y="4723158"/>
            <a:chExt cx="2181855" cy="389182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D033B47-BB19-2C33-ACA5-82FEEB1837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4521" y="4723158"/>
              <a:ext cx="1181729" cy="389182"/>
            </a:xfrm>
            <a:prstGeom prst="rect">
              <a:avLst/>
            </a:prstGeom>
          </p:spPr>
        </p:pic>
        <p:pic>
          <p:nvPicPr>
            <p:cNvPr id="14" name="Picture 2" descr="Risk Modeling and Management | Quantitative Decision Analysis | Value  Measurements of Intangibles">
              <a:extLst>
                <a:ext uri="{FF2B5EF4-FFF2-40B4-BE49-F238E27FC236}">
                  <a16:creationId xmlns:a16="http://schemas.microsoft.com/office/drawing/2014/main" id="{F80EEA3A-7147-8274-0CCD-4AEEF342DD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250" y="4799331"/>
              <a:ext cx="1000126" cy="236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1E09750B-C79C-6382-2FE7-FD79B6F16B9F}"/>
              </a:ext>
            </a:extLst>
          </p:cNvPr>
          <p:cNvSpPr/>
          <p:nvPr/>
        </p:nvSpPr>
        <p:spPr>
          <a:xfrm>
            <a:off x="488934" y="2072255"/>
            <a:ext cx="3556372" cy="2613903"/>
          </a:xfrm>
          <a:prstGeom prst="rect">
            <a:avLst/>
          </a:prstGeom>
          <a:solidFill>
            <a:srgbClr val="073B4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28557"/>
            <a:endParaRPr lang="en-US" sz="1200" dirty="0">
              <a:solidFill>
                <a:srgbClr val="E6E4D9"/>
              </a:solidFill>
              <a:latin typeface="Arial Nova" panose="020B0504020202020204" pitchFamily="34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39306D2-79D4-D5D7-B9C8-B0835B3C5BDD}"/>
              </a:ext>
            </a:extLst>
          </p:cNvPr>
          <p:cNvSpPr/>
          <p:nvPr/>
        </p:nvSpPr>
        <p:spPr>
          <a:xfrm>
            <a:off x="555954" y="2196393"/>
            <a:ext cx="3416199" cy="74642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/>
              <a:t>In 200+ major analysis projects</a:t>
            </a:r>
            <a:r>
              <a:rPr lang="en-US" sz="1000" dirty="0"/>
              <a:t>, HDR has been able to show that no matter how difficult the measurement and monetization problem appears to be, we find a way to evaluate it and communicate the results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931617A-24C7-4E75-4AA8-20663A93D499}"/>
              </a:ext>
            </a:extLst>
          </p:cNvPr>
          <p:cNvSpPr txBox="1"/>
          <p:nvPr/>
        </p:nvSpPr>
        <p:spPr>
          <a:xfrm>
            <a:off x="539564" y="1188494"/>
            <a:ext cx="80484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dirty="0">
                <a:solidFill>
                  <a:srgbClr val="FFFFFF"/>
                </a:solidFill>
                <a:effectLst/>
              </a:rPr>
              <a:t>HDR developed Applied information Economics as a practical application of several quantitative, analytical methods to decision making. A key principle HDR follows is that </a:t>
            </a:r>
            <a:r>
              <a:rPr lang="en-US" sz="1200" i="0" u="sng" dirty="0">
                <a:solidFill>
                  <a:srgbClr val="FFFFFF"/>
                </a:solidFill>
                <a:effectLst/>
              </a:rPr>
              <a:t>every component of the method </a:t>
            </a:r>
            <a:r>
              <a:rPr lang="en-US" sz="1200" b="0" i="0" dirty="0">
                <a:solidFill>
                  <a:srgbClr val="FFFFFF"/>
                </a:solidFill>
                <a:effectLst/>
              </a:rPr>
              <a:t>is based on methods from published, peer-reviewed clinical trials that show a measurable improvement to estimates and decisions.</a:t>
            </a:r>
            <a:endParaRPr lang="en-US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342B0D-EC6B-595C-2696-B527EE9728E2}"/>
              </a:ext>
            </a:extLst>
          </p:cNvPr>
          <p:cNvSpPr txBox="1"/>
          <p:nvPr/>
        </p:nvSpPr>
        <p:spPr>
          <a:xfrm>
            <a:off x="555954" y="3046863"/>
            <a:ext cx="34161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6"/>
                </a:solidFill>
              </a:rPr>
              <a:t>The economic impact of dams on the Mekong River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6"/>
                </a:solidFill>
              </a:rPr>
              <a:t>Environmental policy for US farmers, and educational assistance in inner city schools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6"/>
                </a:solidFill>
              </a:rPr>
              <a:t>The benefits of roads, schools and hospitals in Haiti and how to prioritize them for the United Nations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6"/>
                </a:solidFill>
              </a:rPr>
              <a:t>The relative value of R&amp;D portfolios in aerospace, biotech, and pharma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6"/>
                </a:solidFill>
              </a:rPr>
              <a:t>Logistics forecasts for the battlefield and the effectiveness of training for the US Militar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54591AC-53CE-5C6D-DFC0-DAC63D9B1A69}"/>
              </a:ext>
            </a:extLst>
          </p:cNvPr>
          <p:cNvSpPr/>
          <p:nvPr/>
        </p:nvSpPr>
        <p:spPr>
          <a:xfrm>
            <a:off x="4295444" y="2072255"/>
            <a:ext cx="457200" cy="457200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28557"/>
            <a:endParaRPr lang="en-US" sz="1200" dirty="0">
              <a:solidFill>
                <a:srgbClr val="E6E4D9"/>
              </a:solidFill>
              <a:latin typeface="Arial Nova" panose="020B05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CA5F34C-7697-D7E2-3A30-11BF5C43D2B8}"/>
              </a:ext>
            </a:extLst>
          </p:cNvPr>
          <p:cNvSpPr/>
          <p:nvPr/>
        </p:nvSpPr>
        <p:spPr>
          <a:xfrm>
            <a:off x="4295444" y="2611431"/>
            <a:ext cx="457200" cy="457200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28557"/>
            <a:endParaRPr lang="en-US" sz="1200" dirty="0">
              <a:solidFill>
                <a:srgbClr val="E6E4D9"/>
              </a:solidFill>
              <a:latin typeface="Arial Nova" panose="020B05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DE39958-C5DD-334A-C002-D53DEA937278}"/>
              </a:ext>
            </a:extLst>
          </p:cNvPr>
          <p:cNvSpPr/>
          <p:nvPr/>
        </p:nvSpPr>
        <p:spPr>
          <a:xfrm>
            <a:off x="4295444" y="3150607"/>
            <a:ext cx="457200" cy="457200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28557"/>
            <a:endParaRPr lang="en-US" sz="1200" dirty="0">
              <a:solidFill>
                <a:srgbClr val="E6E4D9"/>
              </a:solidFill>
              <a:latin typeface="Arial Nova" panose="020B05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91FDB95-EE18-5F44-3E1E-268227287784}"/>
              </a:ext>
            </a:extLst>
          </p:cNvPr>
          <p:cNvSpPr/>
          <p:nvPr/>
        </p:nvSpPr>
        <p:spPr>
          <a:xfrm>
            <a:off x="4295444" y="3689783"/>
            <a:ext cx="457200" cy="457200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28557"/>
            <a:endParaRPr lang="en-US" sz="1200" dirty="0">
              <a:solidFill>
                <a:srgbClr val="E6E4D9"/>
              </a:solidFill>
              <a:latin typeface="Arial Nova" panose="020B05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31CE3D9-16D4-BD6B-15CF-F6416D31E4AB}"/>
              </a:ext>
            </a:extLst>
          </p:cNvPr>
          <p:cNvSpPr/>
          <p:nvPr/>
        </p:nvSpPr>
        <p:spPr>
          <a:xfrm>
            <a:off x="4295444" y="4228958"/>
            <a:ext cx="457200" cy="457200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28557"/>
            <a:endParaRPr lang="en-US" sz="1200" dirty="0">
              <a:solidFill>
                <a:srgbClr val="E6E4D9"/>
              </a:solidFill>
              <a:latin typeface="Arial Nova" panose="020B05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5E275EF-D944-4323-E0AF-74A1CFE77805}"/>
              </a:ext>
            </a:extLst>
          </p:cNvPr>
          <p:cNvSpPr/>
          <p:nvPr/>
        </p:nvSpPr>
        <p:spPr>
          <a:xfrm>
            <a:off x="4825797" y="2072255"/>
            <a:ext cx="3711618" cy="45720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228557"/>
            <a:r>
              <a:rPr lang="en-US" sz="800" b="1" dirty="0">
                <a:solidFill>
                  <a:schemeClr val="accent4"/>
                </a:solidFill>
              </a:rPr>
              <a:t>Model Complex Decisions</a:t>
            </a:r>
          </a:p>
          <a:p>
            <a:pPr defTabSz="228557"/>
            <a:r>
              <a:rPr lang="en-US" sz="700" dirty="0">
                <a:solidFill>
                  <a:schemeClr val="accent4"/>
                </a:solidFill>
              </a:rPr>
              <a:t>Regardless of the number of variables or level of uncertainty, any decision can be modeled in a way that improves on intuition, purely qualitative, or deterministic methods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38D71E1-6591-137C-58C3-3964EFF55262}"/>
              </a:ext>
            </a:extLst>
          </p:cNvPr>
          <p:cNvSpPr/>
          <p:nvPr/>
        </p:nvSpPr>
        <p:spPr>
          <a:xfrm>
            <a:off x="4825797" y="2611431"/>
            <a:ext cx="3711618" cy="45720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228557"/>
            <a:r>
              <a:rPr lang="en-US" sz="800" b="1" dirty="0">
                <a:solidFill>
                  <a:schemeClr val="accent4"/>
                </a:solidFill>
              </a:rPr>
              <a:t>Measure Intangibles</a:t>
            </a:r>
          </a:p>
          <a:p>
            <a:pPr defTabSz="228557"/>
            <a:r>
              <a:rPr lang="en-US" sz="700" dirty="0">
                <a:solidFill>
                  <a:schemeClr val="accent4"/>
                </a:solidFill>
              </a:rPr>
              <a:t>Founded by the author of </a:t>
            </a:r>
            <a:r>
              <a:rPr lang="en-US" sz="700" i="1" dirty="0">
                <a:solidFill>
                  <a:schemeClr val="accent4"/>
                </a:solidFill>
              </a:rPr>
              <a:t>How to Measure Anything</a:t>
            </a:r>
            <a:r>
              <a:rPr lang="en-US" sz="700" dirty="0">
                <a:solidFill>
                  <a:schemeClr val="accent4"/>
                </a:solidFill>
              </a:rPr>
              <a:t>, HDR shows clients there are no "intangibles." You have more data than you think, and you need less than you think.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F8E220E-D441-D0FB-DA13-38010E42A38D}"/>
              </a:ext>
            </a:extLst>
          </p:cNvPr>
          <p:cNvSpPr/>
          <p:nvPr/>
        </p:nvSpPr>
        <p:spPr>
          <a:xfrm>
            <a:off x="4825797" y="3150607"/>
            <a:ext cx="3711618" cy="45720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228557"/>
            <a:r>
              <a:rPr lang="en-US" sz="800" b="1" dirty="0">
                <a:solidFill>
                  <a:schemeClr val="accent4"/>
                </a:solidFill>
              </a:rPr>
              <a:t>If it Matters, Monetize it</a:t>
            </a:r>
          </a:p>
          <a:p>
            <a:pPr defTabSz="228557"/>
            <a:r>
              <a:rPr lang="en-US" sz="700" dirty="0">
                <a:solidFill>
                  <a:schemeClr val="accent4"/>
                </a:solidFill>
              </a:rPr>
              <a:t>HDR has quantified the economic value for even the most "invaluable.“ This includes environmental, health, agricultural risk, new innovations, and education.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182CD77-48CF-8E1A-4F86-74BCF3CA66D8}"/>
              </a:ext>
            </a:extLst>
          </p:cNvPr>
          <p:cNvSpPr/>
          <p:nvPr/>
        </p:nvSpPr>
        <p:spPr>
          <a:xfrm>
            <a:off x="4825797" y="3689783"/>
            <a:ext cx="3711618" cy="45720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228557"/>
            <a:r>
              <a:rPr lang="en-US" sz="800" b="1" dirty="0">
                <a:solidFill>
                  <a:schemeClr val="accent4"/>
                </a:solidFill>
              </a:rPr>
              <a:t>Compute Information Values</a:t>
            </a:r>
          </a:p>
          <a:p>
            <a:pPr defTabSz="228557"/>
            <a:r>
              <a:rPr lang="en-US" sz="700" dirty="0">
                <a:solidFill>
                  <a:schemeClr val="accent4"/>
                </a:solidFill>
              </a:rPr>
              <a:t>The "Measurement Inversion" occurs when measurements are not prioritized by information value. The "Expected Value of Information" (EVI) often leads to very different measurements.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CB5DEE2-4958-A271-C27A-BC7A3C660731}"/>
              </a:ext>
            </a:extLst>
          </p:cNvPr>
          <p:cNvSpPr/>
          <p:nvPr/>
        </p:nvSpPr>
        <p:spPr>
          <a:xfrm>
            <a:off x="4825797" y="4228958"/>
            <a:ext cx="3711618" cy="45720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228557"/>
            <a:r>
              <a:rPr lang="en-US" sz="800" b="1" dirty="0">
                <a:solidFill>
                  <a:schemeClr val="accent4"/>
                </a:solidFill>
              </a:rPr>
              <a:t>Inform Decisions with Understandable Results</a:t>
            </a:r>
          </a:p>
          <a:p>
            <a:pPr defTabSz="228557"/>
            <a:r>
              <a:rPr lang="en-US" sz="700" dirty="0">
                <a:solidFill>
                  <a:schemeClr val="accent4"/>
                </a:solidFill>
              </a:rPr>
              <a:t>HDR has a lot of experience in condensing even complex decision models</a:t>
            </a:r>
          </a:p>
          <a:p>
            <a:pPr defTabSz="228557"/>
            <a:r>
              <a:rPr lang="en-US" sz="700" dirty="0">
                <a:solidFill>
                  <a:schemeClr val="accent4"/>
                </a:solidFill>
              </a:rPr>
              <a:t>into clear outcomes that inform practical actions for executives.</a:t>
            </a: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447D700E-AE3C-48AB-5287-82166A159A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86884" y="2158963"/>
            <a:ext cx="274320" cy="27432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C151C437-E8EB-18A5-BC60-B8F01B6CB0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89966" y="2684293"/>
            <a:ext cx="274320" cy="27432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EA9461A0-BE9A-3878-97A7-781AD08C4C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89966" y="3785527"/>
            <a:ext cx="274320" cy="27432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EBF7DB97-56C3-C3A6-23DC-1EB5A9F5E4A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389966" y="3237315"/>
            <a:ext cx="274320" cy="27432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2B9C5888-1B7C-82E9-548B-256B860384B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83095" y="4320398"/>
            <a:ext cx="27432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524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rrow: Right 57">
            <a:extLst>
              <a:ext uri="{FF2B5EF4-FFF2-40B4-BE49-F238E27FC236}">
                <a16:creationId xmlns:a16="http://schemas.microsoft.com/office/drawing/2014/main" id="{B6F30EA8-FA22-374B-BE43-E835D4F9512C}"/>
              </a:ext>
            </a:extLst>
          </p:cNvPr>
          <p:cNvSpPr/>
          <p:nvPr/>
        </p:nvSpPr>
        <p:spPr>
          <a:xfrm>
            <a:off x="3268437" y="2392457"/>
            <a:ext cx="753809" cy="1022141"/>
          </a:xfrm>
          <a:prstGeom prst="rightArrow">
            <a:avLst>
              <a:gd name="adj1" fmla="val 50000"/>
              <a:gd name="adj2" fmla="val 53521"/>
            </a:avLst>
          </a:prstGeom>
          <a:solidFill>
            <a:schemeClr val="accent5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19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88704EEC-D926-85EB-DB65-F9D5D89D9D1D}"/>
              </a:ext>
            </a:extLst>
          </p:cNvPr>
          <p:cNvSpPr txBox="1">
            <a:spLocks/>
          </p:cNvSpPr>
          <p:nvPr/>
        </p:nvSpPr>
        <p:spPr>
          <a:xfrm>
            <a:off x="488934" y="636174"/>
            <a:ext cx="8048481" cy="476147"/>
          </a:xfrm>
          <a:prstGeom prst="rect">
            <a:avLst/>
          </a:prstGeom>
        </p:spPr>
        <p:txBody>
          <a:bodyPr/>
          <a:lstStyle>
            <a:lvl1pPr algn="l" defTabSz="6856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rgbClr val="094E5D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61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j-ea"/>
                <a:cs typeface="+mj-cs"/>
              </a:rPr>
              <a:t>Quantifying and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j-ea"/>
                <a:cs typeface="+mj-cs"/>
              </a:rPr>
              <a:t>CyberRisk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j-ea"/>
                <a:cs typeface="+mj-cs"/>
              </a:rPr>
              <a:t> for Real Decisions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4DA16F3-264B-806B-1084-E5EA3319E4F3}"/>
              </a:ext>
            </a:extLst>
          </p:cNvPr>
          <p:cNvSpPr txBox="1">
            <a:spLocks/>
          </p:cNvSpPr>
          <p:nvPr/>
        </p:nvSpPr>
        <p:spPr>
          <a:xfrm>
            <a:off x="488935" y="398968"/>
            <a:ext cx="8048482" cy="286554"/>
          </a:xfrm>
          <a:prstGeom prst="rect">
            <a:avLst/>
          </a:prstGeom>
        </p:spPr>
        <p:txBody>
          <a:bodyPr/>
          <a:lstStyle>
            <a:lvl1pPr marL="103937" indent="-103937" algn="l" defTabSz="685611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1pPr>
            <a:lvl2pPr marL="251994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2pPr>
            <a:lvl3pPr marL="431990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3pPr>
            <a:lvl4pPr marL="611985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4pPr>
            <a:lvl5pPr marL="791981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5pPr>
            <a:lvl6pPr marL="1885431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37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043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849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611" rtl="0" eaLnBrk="1" fontAlgn="auto" latinLnBrk="0" hangingPunct="1">
              <a:lnSpc>
                <a:spcPct val="97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6A4C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WHAT IS THE SOLUTION?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7B9CAB-51B4-05ED-B518-D0445F414634}"/>
              </a:ext>
            </a:extLst>
          </p:cNvPr>
          <p:cNvGrpSpPr/>
          <p:nvPr/>
        </p:nvGrpSpPr>
        <p:grpSpPr>
          <a:xfrm>
            <a:off x="6854196" y="4723158"/>
            <a:ext cx="2181855" cy="389182"/>
            <a:chOff x="5644521" y="4723158"/>
            <a:chExt cx="2181855" cy="389182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D033B47-BB19-2C33-ACA5-82FEEB1837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4521" y="4723158"/>
              <a:ext cx="1181729" cy="389182"/>
            </a:xfrm>
            <a:prstGeom prst="rect">
              <a:avLst/>
            </a:prstGeom>
          </p:spPr>
        </p:pic>
        <p:pic>
          <p:nvPicPr>
            <p:cNvPr id="14" name="Picture 2" descr="Risk Modeling and Management | Quantitative Decision Analysis | Value  Measurements of Intangibles">
              <a:extLst>
                <a:ext uri="{FF2B5EF4-FFF2-40B4-BE49-F238E27FC236}">
                  <a16:creationId xmlns:a16="http://schemas.microsoft.com/office/drawing/2014/main" id="{F80EEA3A-7147-8274-0CCD-4AEEF342DD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250" y="4799331"/>
              <a:ext cx="1000126" cy="236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5B72ECB0-8D60-0724-E37A-0A3C08A209F6}"/>
              </a:ext>
            </a:extLst>
          </p:cNvPr>
          <p:cNvSpPr/>
          <p:nvPr/>
        </p:nvSpPr>
        <p:spPr>
          <a:xfrm>
            <a:off x="4022246" y="1300237"/>
            <a:ext cx="4695242" cy="1023485"/>
          </a:xfrm>
          <a:prstGeom prst="rect">
            <a:avLst/>
          </a:prstGeom>
          <a:solidFill>
            <a:srgbClr val="073B45">
              <a:alpha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A4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6E4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After Crayons scanning and recommendations, HDR will quantify the risk to answer critical questions:</a:t>
            </a:r>
          </a:p>
          <a:p>
            <a:pPr marL="628650" lvl="1" indent="-171450" defTabSz="914400">
              <a:spcAft>
                <a:spcPts val="600"/>
              </a:spcAft>
              <a:buClr>
                <a:srgbClr val="FF6A4C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6E4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How much is the total risk in financial terms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A4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E6E4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A4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E6E4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A4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E6E4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5304E20-A9F1-534A-3D10-B10067E30F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421" y="1358797"/>
            <a:ext cx="2697017" cy="285044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BFDFF7F-CC14-BFA5-7F52-A164F5118D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21874" y="2447027"/>
            <a:ext cx="1819430" cy="203602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1" name="Picture 13">
            <a:extLst>
              <a:ext uri="{FF2B5EF4-FFF2-40B4-BE49-F238E27FC236}">
                <a16:creationId xmlns:a16="http://schemas.microsoft.com/office/drawing/2014/main" id="{780F096C-6781-9D3D-4A86-997BDB6A9D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32" b="22975"/>
          <a:stretch/>
        </p:blipFill>
        <p:spPr bwMode="auto">
          <a:xfrm>
            <a:off x="5051775" y="2571750"/>
            <a:ext cx="3823188" cy="1655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13">
            <a:extLst>
              <a:ext uri="{FF2B5EF4-FFF2-40B4-BE49-F238E27FC236}">
                <a16:creationId xmlns:a16="http://schemas.microsoft.com/office/drawing/2014/main" id="{E921CB25-A4B9-7FCE-8742-28C9C1F027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6546" r="86128" b="22975"/>
          <a:stretch/>
        </p:blipFill>
        <p:spPr bwMode="auto">
          <a:xfrm>
            <a:off x="4757171" y="2573401"/>
            <a:ext cx="322829" cy="1655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39E4D547-DB91-011A-56DE-BEC4796EA359}"/>
              </a:ext>
            </a:extLst>
          </p:cNvPr>
          <p:cNvSpPr txBox="1"/>
          <p:nvPr/>
        </p:nvSpPr>
        <p:spPr>
          <a:xfrm>
            <a:off x="5112812" y="4209950"/>
            <a:ext cx="36046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5"/>
                </a:solidFill>
              </a:rPr>
              <a:t>0.1		1		10		100</a:t>
            </a:r>
          </a:p>
          <a:p>
            <a:pPr algn="ctr"/>
            <a:r>
              <a:rPr lang="en-US" sz="1100" b="1" dirty="0">
                <a:solidFill>
                  <a:schemeClr val="accent5"/>
                </a:solidFill>
              </a:rPr>
              <a:t>Loss (Millions)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E0DD11C-A3B1-1E23-AF67-F114D6CAB21E}"/>
              </a:ext>
            </a:extLst>
          </p:cNvPr>
          <p:cNvSpPr/>
          <p:nvPr/>
        </p:nvSpPr>
        <p:spPr>
          <a:xfrm>
            <a:off x="7824901" y="3473315"/>
            <a:ext cx="774342" cy="247846"/>
          </a:xfrm>
          <a:prstGeom prst="rect">
            <a:avLst/>
          </a:prstGeom>
          <a:solidFill>
            <a:schemeClr val="accent6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urrent Risks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25C401DD-5ACF-5F90-F4A2-22D605418E8F}"/>
              </a:ext>
            </a:extLst>
          </p:cNvPr>
          <p:cNvCxnSpPr>
            <a:cxnSpLocks/>
            <a:stCxn id="44" idx="2"/>
          </p:cNvCxnSpPr>
          <p:nvPr/>
        </p:nvCxnSpPr>
        <p:spPr>
          <a:xfrm flipH="1">
            <a:off x="8035925" y="3721161"/>
            <a:ext cx="176147" cy="268475"/>
          </a:xfrm>
          <a:prstGeom prst="straightConnector1">
            <a:avLst/>
          </a:prstGeom>
          <a:ln w="25400">
            <a:solidFill>
              <a:srgbClr val="66CCFF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2DA3C51C-80CB-C9CE-C251-D3A9CC77F464}"/>
              </a:ext>
            </a:extLst>
          </p:cNvPr>
          <p:cNvSpPr txBox="1"/>
          <p:nvPr/>
        </p:nvSpPr>
        <p:spPr>
          <a:xfrm rot="16200000">
            <a:off x="3712218" y="3184109"/>
            <a:ext cx="1655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Annual Probability of Exceeding Loss</a:t>
            </a:r>
          </a:p>
        </p:txBody>
      </p:sp>
    </p:spTree>
    <p:extLst>
      <p:ext uri="{BB962C8B-B14F-4D97-AF65-F5344CB8AC3E}">
        <p14:creationId xmlns:p14="http://schemas.microsoft.com/office/powerpoint/2010/main" val="2028741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Arrow: Right 47">
            <a:extLst>
              <a:ext uri="{FF2B5EF4-FFF2-40B4-BE49-F238E27FC236}">
                <a16:creationId xmlns:a16="http://schemas.microsoft.com/office/drawing/2014/main" id="{812ED9D9-DA36-30B8-8530-2F19AEEE5870}"/>
              </a:ext>
            </a:extLst>
          </p:cNvPr>
          <p:cNvSpPr/>
          <p:nvPr/>
        </p:nvSpPr>
        <p:spPr>
          <a:xfrm>
            <a:off x="3268437" y="2392457"/>
            <a:ext cx="753809" cy="1022141"/>
          </a:xfrm>
          <a:prstGeom prst="rightArrow">
            <a:avLst>
              <a:gd name="adj1" fmla="val 50000"/>
              <a:gd name="adj2" fmla="val 53521"/>
            </a:avLst>
          </a:prstGeom>
          <a:solidFill>
            <a:schemeClr val="accent5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19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88704EEC-D926-85EB-DB65-F9D5D89D9D1D}"/>
              </a:ext>
            </a:extLst>
          </p:cNvPr>
          <p:cNvSpPr txBox="1">
            <a:spLocks/>
          </p:cNvSpPr>
          <p:nvPr/>
        </p:nvSpPr>
        <p:spPr>
          <a:xfrm>
            <a:off x="488934" y="636174"/>
            <a:ext cx="8048481" cy="476147"/>
          </a:xfrm>
          <a:prstGeom prst="rect">
            <a:avLst/>
          </a:prstGeom>
        </p:spPr>
        <p:txBody>
          <a:bodyPr/>
          <a:lstStyle>
            <a:lvl1pPr algn="l" defTabSz="6856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rgbClr val="094E5D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61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j-ea"/>
                <a:cs typeface="+mj-cs"/>
              </a:rPr>
              <a:t>Quantifying and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j-ea"/>
                <a:cs typeface="+mj-cs"/>
              </a:rPr>
              <a:t>CyberRisk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j-ea"/>
                <a:cs typeface="+mj-cs"/>
              </a:rPr>
              <a:t> for Real Decisions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4DA16F3-264B-806B-1084-E5EA3319E4F3}"/>
              </a:ext>
            </a:extLst>
          </p:cNvPr>
          <p:cNvSpPr txBox="1">
            <a:spLocks/>
          </p:cNvSpPr>
          <p:nvPr/>
        </p:nvSpPr>
        <p:spPr>
          <a:xfrm>
            <a:off x="488935" y="398968"/>
            <a:ext cx="8048482" cy="286554"/>
          </a:xfrm>
          <a:prstGeom prst="rect">
            <a:avLst/>
          </a:prstGeom>
        </p:spPr>
        <p:txBody>
          <a:bodyPr/>
          <a:lstStyle>
            <a:lvl1pPr marL="103937" indent="-103937" algn="l" defTabSz="685611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1pPr>
            <a:lvl2pPr marL="251994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2pPr>
            <a:lvl3pPr marL="431990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3pPr>
            <a:lvl4pPr marL="611985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4pPr>
            <a:lvl5pPr marL="791981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5pPr>
            <a:lvl6pPr marL="1885431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37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043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849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611" rtl="0" eaLnBrk="1" fontAlgn="auto" latinLnBrk="0" hangingPunct="1">
              <a:lnSpc>
                <a:spcPct val="97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6A4C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WHAT IS THE SOLUTION?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7B9CAB-51B4-05ED-B518-D0445F414634}"/>
              </a:ext>
            </a:extLst>
          </p:cNvPr>
          <p:cNvGrpSpPr/>
          <p:nvPr/>
        </p:nvGrpSpPr>
        <p:grpSpPr>
          <a:xfrm>
            <a:off x="6854196" y="4723158"/>
            <a:ext cx="2181855" cy="389182"/>
            <a:chOff x="5644521" y="4723158"/>
            <a:chExt cx="2181855" cy="389182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D033B47-BB19-2C33-ACA5-82FEEB1837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4521" y="4723158"/>
              <a:ext cx="1181729" cy="389182"/>
            </a:xfrm>
            <a:prstGeom prst="rect">
              <a:avLst/>
            </a:prstGeom>
          </p:spPr>
        </p:pic>
        <p:pic>
          <p:nvPicPr>
            <p:cNvPr id="14" name="Picture 2" descr="Risk Modeling and Management | Quantitative Decision Analysis | Value  Measurements of Intangibles">
              <a:extLst>
                <a:ext uri="{FF2B5EF4-FFF2-40B4-BE49-F238E27FC236}">
                  <a16:creationId xmlns:a16="http://schemas.microsoft.com/office/drawing/2014/main" id="{F80EEA3A-7147-8274-0CCD-4AEEF342DD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250" y="4799331"/>
              <a:ext cx="1000126" cy="236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5B72ECB0-8D60-0724-E37A-0A3C08A209F6}"/>
              </a:ext>
            </a:extLst>
          </p:cNvPr>
          <p:cNvSpPr/>
          <p:nvPr/>
        </p:nvSpPr>
        <p:spPr>
          <a:xfrm>
            <a:off x="4022246" y="1300237"/>
            <a:ext cx="4695242" cy="1023485"/>
          </a:xfrm>
          <a:prstGeom prst="rect">
            <a:avLst/>
          </a:prstGeom>
          <a:solidFill>
            <a:srgbClr val="073B45">
              <a:alpha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A4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6E4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After Crayons scanning and recommendations, HDR will quantify the risk to answer critical questions:</a:t>
            </a:r>
          </a:p>
          <a:p>
            <a:pPr marL="628650" lvl="1" indent="-171450" defTabSz="914400">
              <a:buClr>
                <a:srgbClr val="FF6A4C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6E4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How much is the total risk in financial terms?</a:t>
            </a:r>
          </a:p>
          <a:p>
            <a:pPr marL="628650" lvl="1" indent="-171450" defTabSz="914400">
              <a:buClr>
                <a:srgbClr val="FF6A4C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6E4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What is it worth to reduce the risk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A4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E6E4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A4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E6E4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5304E20-A9F1-534A-3D10-B10067E30F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421" y="1358797"/>
            <a:ext cx="2697017" cy="285044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BFDFF7F-CC14-BFA5-7F52-A164F5118D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21874" y="2447027"/>
            <a:ext cx="1819430" cy="203602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7" name="Picture 13">
            <a:extLst>
              <a:ext uri="{FF2B5EF4-FFF2-40B4-BE49-F238E27FC236}">
                <a16:creationId xmlns:a16="http://schemas.microsoft.com/office/drawing/2014/main" id="{7F53C7C6-C3FE-306A-372D-F32BF432BD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32" b="22975"/>
          <a:stretch/>
        </p:blipFill>
        <p:spPr bwMode="auto">
          <a:xfrm>
            <a:off x="5051775" y="2571750"/>
            <a:ext cx="3823188" cy="1655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13">
            <a:extLst>
              <a:ext uri="{FF2B5EF4-FFF2-40B4-BE49-F238E27FC236}">
                <a16:creationId xmlns:a16="http://schemas.microsoft.com/office/drawing/2014/main" id="{44502523-F979-DD8C-A2B4-77ADC35B9E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6546" r="86128" b="22975"/>
          <a:stretch/>
        </p:blipFill>
        <p:spPr bwMode="auto">
          <a:xfrm>
            <a:off x="4757171" y="2573401"/>
            <a:ext cx="322829" cy="1655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0C6CE40B-0FAF-A646-22CA-1C1A1BBF94C3}"/>
              </a:ext>
            </a:extLst>
          </p:cNvPr>
          <p:cNvSpPr txBox="1"/>
          <p:nvPr/>
        </p:nvSpPr>
        <p:spPr>
          <a:xfrm>
            <a:off x="5112812" y="4209950"/>
            <a:ext cx="36046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5"/>
                </a:solidFill>
              </a:rPr>
              <a:t>0.1		1		10		100</a:t>
            </a:r>
          </a:p>
          <a:p>
            <a:pPr algn="ctr"/>
            <a:r>
              <a:rPr lang="en-US" sz="1100" b="1" dirty="0">
                <a:solidFill>
                  <a:schemeClr val="accent5"/>
                </a:solidFill>
              </a:rPr>
              <a:t>Loss (Millions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668F142-BDAE-67DD-D202-F853C039F272}"/>
              </a:ext>
            </a:extLst>
          </p:cNvPr>
          <p:cNvSpPr/>
          <p:nvPr/>
        </p:nvSpPr>
        <p:spPr>
          <a:xfrm>
            <a:off x="7824901" y="3473315"/>
            <a:ext cx="774342" cy="247846"/>
          </a:xfrm>
          <a:prstGeom prst="rect">
            <a:avLst/>
          </a:prstGeom>
          <a:solidFill>
            <a:schemeClr val="accent6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urrent Risks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32B43F2C-8F98-B90F-2565-24F2A50E18A2}"/>
              </a:ext>
            </a:extLst>
          </p:cNvPr>
          <p:cNvCxnSpPr>
            <a:cxnSpLocks/>
            <a:stCxn id="36" idx="2"/>
          </p:cNvCxnSpPr>
          <p:nvPr/>
        </p:nvCxnSpPr>
        <p:spPr>
          <a:xfrm flipH="1">
            <a:off x="8035925" y="3721161"/>
            <a:ext cx="176147" cy="268475"/>
          </a:xfrm>
          <a:prstGeom prst="straightConnector1">
            <a:avLst/>
          </a:prstGeom>
          <a:ln w="25400">
            <a:solidFill>
              <a:srgbClr val="66CCFF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345D395F-C229-2718-8E2E-E33F315117BB}"/>
              </a:ext>
            </a:extLst>
          </p:cNvPr>
          <p:cNvSpPr txBox="1"/>
          <p:nvPr/>
        </p:nvSpPr>
        <p:spPr>
          <a:xfrm rot="16200000">
            <a:off x="3712218" y="3184109"/>
            <a:ext cx="1655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Annual Probability of Exceeding Loss</a:t>
            </a: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DE51EC9B-2345-8729-82B0-7E6EAA3098AD}"/>
              </a:ext>
            </a:extLst>
          </p:cNvPr>
          <p:cNvSpPr/>
          <p:nvPr/>
        </p:nvSpPr>
        <p:spPr>
          <a:xfrm>
            <a:off x="5117575" y="3286167"/>
            <a:ext cx="3564463" cy="869988"/>
          </a:xfrm>
          <a:custGeom>
            <a:avLst/>
            <a:gdLst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36"/>
              <a:gd name="connsiteX1" fmla="*/ 4033861 w 4033861"/>
              <a:gd name="connsiteY1" fmla="*/ 1859426 h 1859436"/>
              <a:gd name="connsiteX2" fmla="*/ 4033861 w 4033861"/>
              <a:gd name="connsiteY2" fmla="*/ 1859426 h 1859436"/>
              <a:gd name="connsiteX0" fmla="*/ 0 w 4033861"/>
              <a:gd name="connsiteY0" fmla="*/ 0 h 1859436"/>
              <a:gd name="connsiteX1" fmla="*/ 4033861 w 4033861"/>
              <a:gd name="connsiteY1" fmla="*/ 1859426 h 1859436"/>
              <a:gd name="connsiteX2" fmla="*/ 4033861 w 4033861"/>
              <a:gd name="connsiteY2" fmla="*/ 1859426 h 1859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033861" h="1859436">
                <a:moveTo>
                  <a:pt x="0" y="0"/>
                </a:moveTo>
                <a:cubicBezTo>
                  <a:pt x="1695227" y="406646"/>
                  <a:pt x="1789347" y="1863913"/>
                  <a:pt x="4033861" y="1859426"/>
                </a:cubicBezTo>
                <a:lnTo>
                  <a:pt x="4033861" y="1859426"/>
                </a:lnTo>
              </a:path>
            </a:pathLst>
          </a:custGeom>
          <a:ln w="28575">
            <a:solidFill>
              <a:srgbClr val="00B05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E1D374C-2F9C-F75C-4529-CF98EA31A46E}"/>
              </a:ext>
            </a:extLst>
          </p:cNvPr>
          <p:cNvSpPr/>
          <p:nvPr/>
        </p:nvSpPr>
        <p:spPr>
          <a:xfrm>
            <a:off x="5330564" y="3810355"/>
            <a:ext cx="774342" cy="268475"/>
          </a:xfrm>
          <a:prstGeom prst="rect">
            <a:avLst/>
          </a:prstGeom>
          <a:solidFill>
            <a:schemeClr val="accent6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Risk After Mitigations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36B2425A-9FCC-5B26-06BE-B2F838A4CC90}"/>
              </a:ext>
            </a:extLst>
          </p:cNvPr>
          <p:cNvCxnSpPr>
            <a:cxnSpLocks/>
            <a:stCxn id="40" idx="3"/>
          </p:cNvCxnSpPr>
          <p:nvPr/>
        </p:nvCxnSpPr>
        <p:spPr>
          <a:xfrm flipV="1">
            <a:off x="6104906" y="3703199"/>
            <a:ext cx="326850" cy="241394"/>
          </a:xfrm>
          <a:prstGeom prst="straightConnector1">
            <a:avLst/>
          </a:prstGeom>
          <a:ln w="25400">
            <a:solidFill>
              <a:srgbClr val="00B050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ight Brace 41">
            <a:extLst>
              <a:ext uri="{FF2B5EF4-FFF2-40B4-BE49-F238E27FC236}">
                <a16:creationId xmlns:a16="http://schemas.microsoft.com/office/drawing/2014/main" id="{0D402226-EBCD-E650-E287-101E5B15D3E8}"/>
              </a:ext>
            </a:extLst>
          </p:cNvPr>
          <p:cNvSpPr/>
          <p:nvPr/>
        </p:nvSpPr>
        <p:spPr>
          <a:xfrm>
            <a:off x="6779994" y="3517462"/>
            <a:ext cx="166524" cy="292894"/>
          </a:xfrm>
          <a:prstGeom prst="rightBrace">
            <a:avLst>
              <a:gd name="adj1" fmla="val 29782"/>
              <a:gd name="adj2" fmla="val 50000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19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EE2CE0C-FDAF-E059-F531-13023D9F4E44}"/>
              </a:ext>
            </a:extLst>
          </p:cNvPr>
          <p:cNvSpPr/>
          <p:nvPr/>
        </p:nvSpPr>
        <p:spPr>
          <a:xfrm>
            <a:off x="7325655" y="2915181"/>
            <a:ext cx="654312" cy="295987"/>
          </a:xfrm>
          <a:prstGeom prst="rect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$ Value of Mitigation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4FE4DEFD-A794-849D-9EB5-99EE730948E0}"/>
              </a:ext>
            </a:extLst>
          </p:cNvPr>
          <p:cNvCxnSpPr>
            <a:cxnSpLocks/>
            <a:stCxn id="43" idx="2"/>
            <a:endCxn id="42" idx="1"/>
          </p:cNvCxnSpPr>
          <p:nvPr/>
        </p:nvCxnSpPr>
        <p:spPr>
          <a:xfrm flipH="1">
            <a:off x="6946518" y="3211168"/>
            <a:ext cx="706293" cy="452741"/>
          </a:xfrm>
          <a:prstGeom prst="straightConnector1">
            <a:avLst/>
          </a:prstGeom>
          <a:ln w="2540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0203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Arrow: Right 18">
            <a:extLst>
              <a:ext uri="{FF2B5EF4-FFF2-40B4-BE49-F238E27FC236}">
                <a16:creationId xmlns:a16="http://schemas.microsoft.com/office/drawing/2014/main" id="{99983390-B020-6ECF-FEF0-A2A9CD19F70D}"/>
              </a:ext>
            </a:extLst>
          </p:cNvPr>
          <p:cNvSpPr/>
          <p:nvPr/>
        </p:nvSpPr>
        <p:spPr>
          <a:xfrm>
            <a:off x="3268437" y="2392457"/>
            <a:ext cx="753809" cy="1022141"/>
          </a:xfrm>
          <a:prstGeom prst="rightArrow">
            <a:avLst>
              <a:gd name="adj1" fmla="val 50000"/>
              <a:gd name="adj2" fmla="val 53521"/>
            </a:avLst>
          </a:prstGeom>
          <a:solidFill>
            <a:schemeClr val="accent5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19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88704EEC-D926-85EB-DB65-F9D5D89D9D1D}"/>
              </a:ext>
            </a:extLst>
          </p:cNvPr>
          <p:cNvSpPr txBox="1">
            <a:spLocks/>
          </p:cNvSpPr>
          <p:nvPr/>
        </p:nvSpPr>
        <p:spPr>
          <a:xfrm>
            <a:off x="488934" y="636174"/>
            <a:ext cx="8048481" cy="476147"/>
          </a:xfrm>
          <a:prstGeom prst="rect">
            <a:avLst/>
          </a:prstGeom>
        </p:spPr>
        <p:txBody>
          <a:bodyPr/>
          <a:lstStyle>
            <a:lvl1pPr algn="l" defTabSz="6856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rgbClr val="094E5D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61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j-ea"/>
                <a:cs typeface="+mj-cs"/>
              </a:rPr>
              <a:t>Quantifying and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j-ea"/>
                <a:cs typeface="+mj-cs"/>
              </a:rPr>
              <a:t>CyberRisk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j-ea"/>
                <a:cs typeface="+mj-cs"/>
              </a:rPr>
              <a:t> for Real Decisions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4DA16F3-264B-806B-1084-E5EA3319E4F3}"/>
              </a:ext>
            </a:extLst>
          </p:cNvPr>
          <p:cNvSpPr txBox="1">
            <a:spLocks/>
          </p:cNvSpPr>
          <p:nvPr/>
        </p:nvSpPr>
        <p:spPr>
          <a:xfrm>
            <a:off x="488935" y="398968"/>
            <a:ext cx="8048482" cy="286554"/>
          </a:xfrm>
          <a:prstGeom prst="rect">
            <a:avLst/>
          </a:prstGeom>
        </p:spPr>
        <p:txBody>
          <a:bodyPr/>
          <a:lstStyle>
            <a:lvl1pPr marL="103937" indent="-103937" algn="l" defTabSz="685611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1pPr>
            <a:lvl2pPr marL="251994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2pPr>
            <a:lvl3pPr marL="431990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3pPr>
            <a:lvl4pPr marL="611985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4pPr>
            <a:lvl5pPr marL="791981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5pPr>
            <a:lvl6pPr marL="1885431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37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043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849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611" rtl="0" eaLnBrk="1" fontAlgn="auto" latinLnBrk="0" hangingPunct="1">
              <a:lnSpc>
                <a:spcPct val="97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6A4C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WHAT IS THE SOLUTION?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7B9CAB-51B4-05ED-B518-D0445F414634}"/>
              </a:ext>
            </a:extLst>
          </p:cNvPr>
          <p:cNvGrpSpPr/>
          <p:nvPr/>
        </p:nvGrpSpPr>
        <p:grpSpPr>
          <a:xfrm>
            <a:off x="6854196" y="4723158"/>
            <a:ext cx="2181855" cy="389182"/>
            <a:chOff x="5644521" y="4723158"/>
            <a:chExt cx="2181855" cy="389182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D033B47-BB19-2C33-ACA5-82FEEB1837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4521" y="4723158"/>
              <a:ext cx="1181729" cy="389182"/>
            </a:xfrm>
            <a:prstGeom prst="rect">
              <a:avLst/>
            </a:prstGeom>
          </p:spPr>
        </p:pic>
        <p:pic>
          <p:nvPicPr>
            <p:cNvPr id="14" name="Picture 2" descr="Risk Modeling and Management | Quantitative Decision Analysis | Value  Measurements of Intangibles">
              <a:extLst>
                <a:ext uri="{FF2B5EF4-FFF2-40B4-BE49-F238E27FC236}">
                  <a16:creationId xmlns:a16="http://schemas.microsoft.com/office/drawing/2014/main" id="{F80EEA3A-7147-8274-0CCD-4AEEF342DD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250" y="4799331"/>
              <a:ext cx="1000126" cy="236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5B72ECB0-8D60-0724-E37A-0A3C08A209F6}"/>
              </a:ext>
            </a:extLst>
          </p:cNvPr>
          <p:cNvSpPr/>
          <p:nvPr/>
        </p:nvSpPr>
        <p:spPr>
          <a:xfrm>
            <a:off x="4022246" y="1300237"/>
            <a:ext cx="4695242" cy="1023485"/>
          </a:xfrm>
          <a:prstGeom prst="rect">
            <a:avLst/>
          </a:prstGeom>
          <a:solidFill>
            <a:srgbClr val="073B45">
              <a:alpha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A4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6E4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After Crayons scanning and recommendations, HDR will quantify the risk to answer critical questions:</a:t>
            </a:r>
          </a:p>
          <a:p>
            <a:pPr marL="628650" lvl="1" indent="-171450" defTabSz="914400">
              <a:buClr>
                <a:srgbClr val="FF6A4C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6E4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How much is the total risk in financial terms?</a:t>
            </a:r>
          </a:p>
          <a:p>
            <a:pPr marL="628650" lvl="1" indent="-171450" defTabSz="914400">
              <a:buClr>
                <a:srgbClr val="FF6A4C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6E4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What is it worth to reduce the risk?</a:t>
            </a:r>
          </a:p>
          <a:p>
            <a:pPr marL="628650" lvl="1" indent="-171450" defTabSz="914400">
              <a:buClr>
                <a:srgbClr val="FF6A4C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6E4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Is the risk acceptable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A4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E6E4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A4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E6E4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A4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E6E4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5304E20-A9F1-534A-3D10-B10067E30F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421" y="1358797"/>
            <a:ext cx="2697017" cy="285044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BFDFF7F-CC14-BFA5-7F52-A164F5118D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21874" y="2447027"/>
            <a:ext cx="1819430" cy="203602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0" name="Picture 13">
            <a:extLst>
              <a:ext uri="{FF2B5EF4-FFF2-40B4-BE49-F238E27FC236}">
                <a16:creationId xmlns:a16="http://schemas.microsoft.com/office/drawing/2014/main" id="{E6228FE0-6364-91CE-81F5-70BAEF25BB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32" b="22975"/>
          <a:stretch/>
        </p:blipFill>
        <p:spPr bwMode="auto">
          <a:xfrm>
            <a:off x="5051775" y="2571750"/>
            <a:ext cx="3823188" cy="1655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13">
            <a:extLst>
              <a:ext uri="{FF2B5EF4-FFF2-40B4-BE49-F238E27FC236}">
                <a16:creationId xmlns:a16="http://schemas.microsoft.com/office/drawing/2014/main" id="{EDA5CAE8-26FE-DA20-4259-CAC16B5648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6546" r="86128" b="22975"/>
          <a:stretch/>
        </p:blipFill>
        <p:spPr bwMode="auto">
          <a:xfrm>
            <a:off x="4757171" y="2573401"/>
            <a:ext cx="322829" cy="1655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560CFD0B-33B6-232C-749E-C40BF53FF89A}"/>
              </a:ext>
            </a:extLst>
          </p:cNvPr>
          <p:cNvSpPr txBox="1"/>
          <p:nvPr/>
        </p:nvSpPr>
        <p:spPr>
          <a:xfrm>
            <a:off x="5112812" y="4209950"/>
            <a:ext cx="36046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5"/>
                </a:solidFill>
              </a:rPr>
              <a:t>0.1		1		10		100</a:t>
            </a:r>
          </a:p>
          <a:p>
            <a:pPr algn="ctr"/>
            <a:r>
              <a:rPr lang="en-US" sz="1100" b="1" dirty="0">
                <a:solidFill>
                  <a:schemeClr val="accent5"/>
                </a:solidFill>
              </a:rPr>
              <a:t>Loss (Millions)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5CAD448-C6BD-C6B7-9932-DF0CE5BEA779}"/>
              </a:ext>
            </a:extLst>
          </p:cNvPr>
          <p:cNvSpPr/>
          <p:nvPr/>
        </p:nvSpPr>
        <p:spPr>
          <a:xfrm>
            <a:off x="7824901" y="3473315"/>
            <a:ext cx="774342" cy="247846"/>
          </a:xfrm>
          <a:prstGeom prst="rect">
            <a:avLst/>
          </a:prstGeom>
          <a:solidFill>
            <a:schemeClr val="accent6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urrent Risks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72F12851-F4C5-D2F5-2A70-555F211F0D59}"/>
              </a:ext>
            </a:extLst>
          </p:cNvPr>
          <p:cNvCxnSpPr>
            <a:cxnSpLocks/>
            <a:stCxn id="53" idx="2"/>
          </p:cNvCxnSpPr>
          <p:nvPr/>
        </p:nvCxnSpPr>
        <p:spPr>
          <a:xfrm flipH="1">
            <a:off x="8035925" y="3721161"/>
            <a:ext cx="176147" cy="268475"/>
          </a:xfrm>
          <a:prstGeom prst="straightConnector1">
            <a:avLst/>
          </a:prstGeom>
          <a:ln w="25400">
            <a:solidFill>
              <a:srgbClr val="66CCFF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C3A8B8D5-2412-2CE1-4CB0-764C15E061FB}"/>
              </a:ext>
            </a:extLst>
          </p:cNvPr>
          <p:cNvSpPr txBox="1"/>
          <p:nvPr/>
        </p:nvSpPr>
        <p:spPr>
          <a:xfrm rot="16200000">
            <a:off x="3712218" y="3184109"/>
            <a:ext cx="1655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Annual Probability of Exceeding Loss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4054EFE0-2DB6-CA22-D0B9-0F8030124FEF}"/>
              </a:ext>
            </a:extLst>
          </p:cNvPr>
          <p:cNvSpPr/>
          <p:nvPr/>
        </p:nvSpPr>
        <p:spPr>
          <a:xfrm>
            <a:off x="5117575" y="3286167"/>
            <a:ext cx="3564463" cy="869988"/>
          </a:xfrm>
          <a:custGeom>
            <a:avLst/>
            <a:gdLst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36"/>
              <a:gd name="connsiteX1" fmla="*/ 4033861 w 4033861"/>
              <a:gd name="connsiteY1" fmla="*/ 1859426 h 1859436"/>
              <a:gd name="connsiteX2" fmla="*/ 4033861 w 4033861"/>
              <a:gd name="connsiteY2" fmla="*/ 1859426 h 1859436"/>
              <a:gd name="connsiteX0" fmla="*/ 0 w 4033861"/>
              <a:gd name="connsiteY0" fmla="*/ 0 h 1859436"/>
              <a:gd name="connsiteX1" fmla="*/ 4033861 w 4033861"/>
              <a:gd name="connsiteY1" fmla="*/ 1859426 h 1859436"/>
              <a:gd name="connsiteX2" fmla="*/ 4033861 w 4033861"/>
              <a:gd name="connsiteY2" fmla="*/ 1859426 h 1859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033861" h="1859436">
                <a:moveTo>
                  <a:pt x="0" y="0"/>
                </a:moveTo>
                <a:cubicBezTo>
                  <a:pt x="1695227" y="406646"/>
                  <a:pt x="1789347" y="1863913"/>
                  <a:pt x="4033861" y="1859426"/>
                </a:cubicBezTo>
                <a:lnTo>
                  <a:pt x="4033861" y="1859426"/>
                </a:lnTo>
              </a:path>
            </a:pathLst>
          </a:custGeom>
          <a:ln w="28575">
            <a:solidFill>
              <a:srgbClr val="00B05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5C2794-4BF1-E595-4285-C2EF89A3C6E5}"/>
              </a:ext>
            </a:extLst>
          </p:cNvPr>
          <p:cNvSpPr/>
          <p:nvPr/>
        </p:nvSpPr>
        <p:spPr>
          <a:xfrm>
            <a:off x="5330564" y="3810355"/>
            <a:ext cx="774342" cy="268475"/>
          </a:xfrm>
          <a:prstGeom prst="rect">
            <a:avLst/>
          </a:prstGeom>
          <a:solidFill>
            <a:schemeClr val="accent6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Risk After Mitigations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86ABA78C-D21A-86CC-736D-F727CD927FEB}"/>
              </a:ext>
            </a:extLst>
          </p:cNvPr>
          <p:cNvCxnSpPr>
            <a:cxnSpLocks/>
            <a:stCxn id="57" idx="3"/>
          </p:cNvCxnSpPr>
          <p:nvPr/>
        </p:nvCxnSpPr>
        <p:spPr>
          <a:xfrm flipV="1">
            <a:off x="6104906" y="3703199"/>
            <a:ext cx="326850" cy="241394"/>
          </a:xfrm>
          <a:prstGeom prst="straightConnector1">
            <a:avLst/>
          </a:prstGeom>
          <a:ln w="25400">
            <a:solidFill>
              <a:srgbClr val="00B050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ight Brace 58">
            <a:extLst>
              <a:ext uri="{FF2B5EF4-FFF2-40B4-BE49-F238E27FC236}">
                <a16:creationId xmlns:a16="http://schemas.microsoft.com/office/drawing/2014/main" id="{19580810-B224-9C62-0768-CD9373857899}"/>
              </a:ext>
            </a:extLst>
          </p:cNvPr>
          <p:cNvSpPr/>
          <p:nvPr/>
        </p:nvSpPr>
        <p:spPr>
          <a:xfrm>
            <a:off x="6779994" y="3517462"/>
            <a:ext cx="166524" cy="292894"/>
          </a:xfrm>
          <a:prstGeom prst="rightBrace">
            <a:avLst>
              <a:gd name="adj1" fmla="val 29782"/>
              <a:gd name="adj2" fmla="val 50000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19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8211AF9-7553-1482-9480-D889B5F6688C}"/>
              </a:ext>
            </a:extLst>
          </p:cNvPr>
          <p:cNvSpPr/>
          <p:nvPr/>
        </p:nvSpPr>
        <p:spPr>
          <a:xfrm>
            <a:off x="7325655" y="2915181"/>
            <a:ext cx="654312" cy="295987"/>
          </a:xfrm>
          <a:prstGeom prst="rect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$ Value of Mitigation</a:t>
            </a: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3B5976FA-C307-D616-2A07-2A1C6EE4753E}"/>
              </a:ext>
            </a:extLst>
          </p:cNvPr>
          <p:cNvCxnSpPr>
            <a:cxnSpLocks/>
            <a:stCxn id="60" idx="2"/>
            <a:endCxn id="59" idx="1"/>
          </p:cNvCxnSpPr>
          <p:nvPr/>
        </p:nvCxnSpPr>
        <p:spPr>
          <a:xfrm flipH="1">
            <a:off x="6946518" y="3211168"/>
            <a:ext cx="706293" cy="452741"/>
          </a:xfrm>
          <a:prstGeom prst="straightConnector1">
            <a:avLst/>
          </a:prstGeom>
          <a:ln w="2540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FBF45C97-4730-057D-2CF6-5F6A7D793F38}"/>
              </a:ext>
            </a:extLst>
          </p:cNvPr>
          <p:cNvSpPr/>
          <p:nvPr/>
        </p:nvSpPr>
        <p:spPr>
          <a:xfrm>
            <a:off x="5125315" y="2964820"/>
            <a:ext cx="3556723" cy="1184623"/>
          </a:xfrm>
          <a:custGeom>
            <a:avLst/>
            <a:gdLst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36"/>
              <a:gd name="connsiteX1" fmla="*/ 4033861 w 4033861"/>
              <a:gd name="connsiteY1" fmla="*/ 1859426 h 1859436"/>
              <a:gd name="connsiteX2" fmla="*/ 4033861 w 4033861"/>
              <a:gd name="connsiteY2" fmla="*/ 1859426 h 1859436"/>
              <a:gd name="connsiteX0" fmla="*/ 0 w 4033861"/>
              <a:gd name="connsiteY0" fmla="*/ 0 h 1859436"/>
              <a:gd name="connsiteX1" fmla="*/ 4033861 w 4033861"/>
              <a:gd name="connsiteY1" fmla="*/ 1859426 h 1859436"/>
              <a:gd name="connsiteX2" fmla="*/ 4033861 w 4033861"/>
              <a:gd name="connsiteY2" fmla="*/ 1859426 h 1859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033861" h="1859436">
                <a:moveTo>
                  <a:pt x="0" y="0"/>
                </a:moveTo>
                <a:cubicBezTo>
                  <a:pt x="1695227" y="406646"/>
                  <a:pt x="1789347" y="1863913"/>
                  <a:pt x="4033861" y="1859426"/>
                </a:cubicBezTo>
                <a:lnTo>
                  <a:pt x="4033861" y="1859426"/>
                </a:lnTo>
              </a:path>
            </a:pathLst>
          </a:custGeom>
          <a:ln w="28575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4FEB0D6-2FA2-D60F-D2D3-4E030BD00641}"/>
              </a:ext>
            </a:extLst>
          </p:cNvPr>
          <p:cNvSpPr/>
          <p:nvPr/>
        </p:nvSpPr>
        <p:spPr>
          <a:xfrm>
            <a:off x="6488936" y="2915181"/>
            <a:ext cx="610364" cy="281640"/>
          </a:xfrm>
          <a:prstGeom prst="rect">
            <a:avLst/>
          </a:prstGeom>
          <a:solidFill>
            <a:schemeClr val="accent6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Risk Appetite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09ED8306-4933-63F7-8D3B-65DAD98040BC}"/>
              </a:ext>
            </a:extLst>
          </p:cNvPr>
          <p:cNvCxnSpPr>
            <a:cxnSpLocks/>
            <a:stCxn id="64" idx="2"/>
          </p:cNvCxnSpPr>
          <p:nvPr/>
        </p:nvCxnSpPr>
        <p:spPr>
          <a:xfrm flipH="1">
            <a:off x="6488936" y="3196821"/>
            <a:ext cx="305182" cy="277409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924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88704EEC-D926-85EB-DB65-F9D5D89D9D1D}"/>
              </a:ext>
            </a:extLst>
          </p:cNvPr>
          <p:cNvSpPr txBox="1">
            <a:spLocks/>
          </p:cNvSpPr>
          <p:nvPr/>
        </p:nvSpPr>
        <p:spPr>
          <a:xfrm>
            <a:off x="488934" y="636174"/>
            <a:ext cx="8048481" cy="476147"/>
          </a:xfrm>
          <a:prstGeom prst="rect">
            <a:avLst/>
          </a:prstGeom>
        </p:spPr>
        <p:txBody>
          <a:bodyPr/>
          <a:lstStyle>
            <a:lvl1pPr algn="l" defTabSz="6856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rgbClr val="094E5D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61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j-ea"/>
                <a:cs typeface="+mj-cs"/>
              </a:rPr>
              <a:t>Quantifying and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j-ea"/>
                <a:cs typeface="+mj-cs"/>
              </a:rPr>
              <a:t>CyberRisk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j-ea"/>
                <a:cs typeface="+mj-cs"/>
              </a:rPr>
              <a:t> for Real Decisions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4DA16F3-264B-806B-1084-E5EA3319E4F3}"/>
              </a:ext>
            </a:extLst>
          </p:cNvPr>
          <p:cNvSpPr txBox="1">
            <a:spLocks/>
          </p:cNvSpPr>
          <p:nvPr/>
        </p:nvSpPr>
        <p:spPr>
          <a:xfrm>
            <a:off x="488935" y="398968"/>
            <a:ext cx="8048482" cy="286554"/>
          </a:xfrm>
          <a:prstGeom prst="rect">
            <a:avLst/>
          </a:prstGeom>
        </p:spPr>
        <p:txBody>
          <a:bodyPr/>
          <a:lstStyle>
            <a:lvl1pPr marL="103937" indent="-103937" algn="l" defTabSz="685611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1pPr>
            <a:lvl2pPr marL="251994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2pPr>
            <a:lvl3pPr marL="431990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3pPr>
            <a:lvl4pPr marL="611985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4pPr>
            <a:lvl5pPr marL="791981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5pPr>
            <a:lvl6pPr marL="1885431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37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043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849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611" rtl="0" eaLnBrk="1" fontAlgn="auto" latinLnBrk="0" hangingPunct="1">
              <a:lnSpc>
                <a:spcPct val="97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6A4C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WHAT IS THE SOLUTION?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7B9CAB-51B4-05ED-B518-D0445F414634}"/>
              </a:ext>
            </a:extLst>
          </p:cNvPr>
          <p:cNvGrpSpPr/>
          <p:nvPr/>
        </p:nvGrpSpPr>
        <p:grpSpPr>
          <a:xfrm>
            <a:off x="6854196" y="4723158"/>
            <a:ext cx="2181855" cy="389182"/>
            <a:chOff x="5644521" y="4723158"/>
            <a:chExt cx="2181855" cy="389182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D033B47-BB19-2C33-ACA5-82FEEB1837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4521" y="4723158"/>
              <a:ext cx="1181729" cy="389182"/>
            </a:xfrm>
            <a:prstGeom prst="rect">
              <a:avLst/>
            </a:prstGeom>
          </p:spPr>
        </p:pic>
        <p:pic>
          <p:nvPicPr>
            <p:cNvPr id="14" name="Picture 2" descr="Risk Modeling and Management | Quantitative Decision Analysis | Value  Measurements of Intangibles">
              <a:extLst>
                <a:ext uri="{FF2B5EF4-FFF2-40B4-BE49-F238E27FC236}">
                  <a16:creationId xmlns:a16="http://schemas.microsoft.com/office/drawing/2014/main" id="{F80EEA3A-7147-8274-0CCD-4AEEF342DD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250" y="4799331"/>
              <a:ext cx="1000126" cy="236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5B72ECB0-8D60-0724-E37A-0A3C08A209F6}"/>
              </a:ext>
            </a:extLst>
          </p:cNvPr>
          <p:cNvSpPr/>
          <p:nvPr/>
        </p:nvSpPr>
        <p:spPr>
          <a:xfrm>
            <a:off x="4022246" y="1300237"/>
            <a:ext cx="4695242" cy="1217717"/>
          </a:xfrm>
          <a:prstGeom prst="rect">
            <a:avLst/>
          </a:prstGeom>
          <a:solidFill>
            <a:srgbClr val="073B45">
              <a:alpha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A4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6E4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After Crayons scanning and recommendations, HDR will quantify the risk to answer critical questions:</a:t>
            </a:r>
          </a:p>
          <a:p>
            <a:pPr marL="628650" lvl="1" indent="-171450" defTabSz="914400">
              <a:buClr>
                <a:srgbClr val="FF6A4C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6E4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How much is the total risk in financial terms?</a:t>
            </a:r>
          </a:p>
          <a:p>
            <a:pPr marL="628650" lvl="1" indent="-171450" defTabSz="914400">
              <a:buClr>
                <a:srgbClr val="FF6A4C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6E4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What is it worth to reduce the risk?</a:t>
            </a:r>
          </a:p>
          <a:p>
            <a:pPr marL="628650" lvl="1" indent="-171450" defTabSz="914400">
              <a:buClr>
                <a:srgbClr val="FF6A4C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6E4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Is the risk acceptable?</a:t>
            </a:r>
          </a:p>
          <a:p>
            <a:pPr marL="628650" lvl="1" indent="-171450" defTabSz="914400">
              <a:buClr>
                <a:srgbClr val="FF6A4C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6E4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How can controls be prioritized with “Return on Control?”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A4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E6E4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A4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E6E4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A4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E6E4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pic>
        <p:nvPicPr>
          <p:cNvPr id="50" name="Picture 13">
            <a:extLst>
              <a:ext uri="{FF2B5EF4-FFF2-40B4-BE49-F238E27FC236}">
                <a16:creationId xmlns:a16="http://schemas.microsoft.com/office/drawing/2014/main" id="{E6228FE0-6364-91CE-81F5-70BAEF25BB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32" b="22975"/>
          <a:stretch/>
        </p:blipFill>
        <p:spPr bwMode="auto">
          <a:xfrm>
            <a:off x="5051775" y="2571750"/>
            <a:ext cx="3823188" cy="1655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13">
            <a:extLst>
              <a:ext uri="{FF2B5EF4-FFF2-40B4-BE49-F238E27FC236}">
                <a16:creationId xmlns:a16="http://schemas.microsoft.com/office/drawing/2014/main" id="{EDA5CAE8-26FE-DA20-4259-CAC16B5648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6546" r="86128" b="22975"/>
          <a:stretch/>
        </p:blipFill>
        <p:spPr bwMode="auto">
          <a:xfrm>
            <a:off x="4757171" y="2573401"/>
            <a:ext cx="322829" cy="1655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560CFD0B-33B6-232C-749E-C40BF53FF89A}"/>
              </a:ext>
            </a:extLst>
          </p:cNvPr>
          <p:cNvSpPr txBox="1"/>
          <p:nvPr/>
        </p:nvSpPr>
        <p:spPr>
          <a:xfrm>
            <a:off x="5112812" y="4209950"/>
            <a:ext cx="36046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5"/>
                </a:solidFill>
              </a:rPr>
              <a:t>0.1		1		10		100</a:t>
            </a:r>
          </a:p>
          <a:p>
            <a:pPr algn="ctr"/>
            <a:r>
              <a:rPr lang="en-US" sz="1100" b="1" dirty="0">
                <a:solidFill>
                  <a:schemeClr val="accent5"/>
                </a:solidFill>
              </a:rPr>
              <a:t>Loss (Millions)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5CAD448-C6BD-C6B7-9932-DF0CE5BEA779}"/>
              </a:ext>
            </a:extLst>
          </p:cNvPr>
          <p:cNvSpPr/>
          <p:nvPr/>
        </p:nvSpPr>
        <p:spPr>
          <a:xfrm>
            <a:off x="7824901" y="3473315"/>
            <a:ext cx="774342" cy="247846"/>
          </a:xfrm>
          <a:prstGeom prst="rect">
            <a:avLst/>
          </a:prstGeom>
          <a:solidFill>
            <a:schemeClr val="accent6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urrent Risks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72F12851-F4C5-D2F5-2A70-555F211F0D59}"/>
              </a:ext>
            </a:extLst>
          </p:cNvPr>
          <p:cNvCxnSpPr>
            <a:cxnSpLocks/>
            <a:stCxn id="53" idx="2"/>
          </p:cNvCxnSpPr>
          <p:nvPr/>
        </p:nvCxnSpPr>
        <p:spPr>
          <a:xfrm flipH="1">
            <a:off x="8035925" y="3721161"/>
            <a:ext cx="176147" cy="268475"/>
          </a:xfrm>
          <a:prstGeom prst="straightConnector1">
            <a:avLst/>
          </a:prstGeom>
          <a:ln w="25400">
            <a:solidFill>
              <a:srgbClr val="66CCFF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C3A8B8D5-2412-2CE1-4CB0-764C15E061FB}"/>
              </a:ext>
            </a:extLst>
          </p:cNvPr>
          <p:cNvSpPr txBox="1"/>
          <p:nvPr/>
        </p:nvSpPr>
        <p:spPr>
          <a:xfrm rot="16200000">
            <a:off x="3712218" y="3184109"/>
            <a:ext cx="1655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Annual Probability of Exceeding Loss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4054EFE0-2DB6-CA22-D0B9-0F8030124FEF}"/>
              </a:ext>
            </a:extLst>
          </p:cNvPr>
          <p:cNvSpPr/>
          <p:nvPr/>
        </p:nvSpPr>
        <p:spPr>
          <a:xfrm>
            <a:off x="5117575" y="3286167"/>
            <a:ext cx="3564463" cy="869988"/>
          </a:xfrm>
          <a:custGeom>
            <a:avLst/>
            <a:gdLst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36"/>
              <a:gd name="connsiteX1" fmla="*/ 4033861 w 4033861"/>
              <a:gd name="connsiteY1" fmla="*/ 1859426 h 1859436"/>
              <a:gd name="connsiteX2" fmla="*/ 4033861 w 4033861"/>
              <a:gd name="connsiteY2" fmla="*/ 1859426 h 1859436"/>
              <a:gd name="connsiteX0" fmla="*/ 0 w 4033861"/>
              <a:gd name="connsiteY0" fmla="*/ 0 h 1859436"/>
              <a:gd name="connsiteX1" fmla="*/ 4033861 w 4033861"/>
              <a:gd name="connsiteY1" fmla="*/ 1859426 h 1859436"/>
              <a:gd name="connsiteX2" fmla="*/ 4033861 w 4033861"/>
              <a:gd name="connsiteY2" fmla="*/ 1859426 h 1859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033861" h="1859436">
                <a:moveTo>
                  <a:pt x="0" y="0"/>
                </a:moveTo>
                <a:cubicBezTo>
                  <a:pt x="1695227" y="406646"/>
                  <a:pt x="1789347" y="1863913"/>
                  <a:pt x="4033861" y="1859426"/>
                </a:cubicBezTo>
                <a:lnTo>
                  <a:pt x="4033861" y="1859426"/>
                </a:lnTo>
              </a:path>
            </a:pathLst>
          </a:custGeom>
          <a:ln w="28575">
            <a:solidFill>
              <a:srgbClr val="00B05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5C2794-4BF1-E595-4285-C2EF89A3C6E5}"/>
              </a:ext>
            </a:extLst>
          </p:cNvPr>
          <p:cNvSpPr/>
          <p:nvPr/>
        </p:nvSpPr>
        <p:spPr>
          <a:xfrm>
            <a:off x="5330564" y="3810355"/>
            <a:ext cx="774342" cy="268475"/>
          </a:xfrm>
          <a:prstGeom prst="rect">
            <a:avLst/>
          </a:prstGeom>
          <a:solidFill>
            <a:schemeClr val="accent6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Risk After Mitigations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86ABA78C-D21A-86CC-736D-F727CD927FEB}"/>
              </a:ext>
            </a:extLst>
          </p:cNvPr>
          <p:cNvCxnSpPr>
            <a:cxnSpLocks/>
            <a:stCxn id="57" idx="3"/>
          </p:cNvCxnSpPr>
          <p:nvPr/>
        </p:nvCxnSpPr>
        <p:spPr>
          <a:xfrm flipV="1">
            <a:off x="6104906" y="3703199"/>
            <a:ext cx="326850" cy="241394"/>
          </a:xfrm>
          <a:prstGeom prst="straightConnector1">
            <a:avLst/>
          </a:prstGeom>
          <a:ln w="25400">
            <a:solidFill>
              <a:srgbClr val="00B050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ight Brace 58">
            <a:extLst>
              <a:ext uri="{FF2B5EF4-FFF2-40B4-BE49-F238E27FC236}">
                <a16:creationId xmlns:a16="http://schemas.microsoft.com/office/drawing/2014/main" id="{19580810-B224-9C62-0768-CD9373857899}"/>
              </a:ext>
            </a:extLst>
          </p:cNvPr>
          <p:cNvSpPr/>
          <p:nvPr/>
        </p:nvSpPr>
        <p:spPr>
          <a:xfrm>
            <a:off x="6779994" y="3517462"/>
            <a:ext cx="166524" cy="292894"/>
          </a:xfrm>
          <a:prstGeom prst="rightBrace">
            <a:avLst>
              <a:gd name="adj1" fmla="val 29782"/>
              <a:gd name="adj2" fmla="val 50000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19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8211AF9-7553-1482-9480-D889B5F6688C}"/>
              </a:ext>
            </a:extLst>
          </p:cNvPr>
          <p:cNvSpPr/>
          <p:nvPr/>
        </p:nvSpPr>
        <p:spPr>
          <a:xfrm>
            <a:off x="7325655" y="2915181"/>
            <a:ext cx="654312" cy="295987"/>
          </a:xfrm>
          <a:prstGeom prst="rect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$ Value of Mitigation</a:t>
            </a: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3B5976FA-C307-D616-2A07-2A1C6EE4753E}"/>
              </a:ext>
            </a:extLst>
          </p:cNvPr>
          <p:cNvCxnSpPr>
            <a:cxnSpLocks/>
            <a:stCxn id="60" idx="2"/>
            <a:endCxn id="59" idx="1"/>
          </p:cNvCxnSpPr>
          <p:nvPr/>
        </p:nvCxnSpPr>
        <p:spPr>
          <a:xfrm flipH="1">
            <a:off x="6946518" y="3211168"/>
            <a:ext cx="706293" cy="452741"/>
          </a:xfrm>
          <a:prstGeom prst="straightConnector1">
            <a:avLst/>
          </a:prstGeom>
          <a:ln w="2540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FBF45C97-4730-057D-2CF6-5F6A7D793F38}"/>
              </a:ext>
            </a:extLst>
          </p:cNvPr>
          <p:cNvSpPr/>
          <p:nvPr/>
        </p:nvSpPr>
        <p:spPr>
          <a:xfrm>
            <a:off x="5125315" y="2964820"/>
            <a:ext cx="3556723" cy="1184623"/>
          </a:xfrm>
          <a:custGeom>
            <a:avLst/>
            <a:gdLst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26"/>
              <a:gd name="connsiteX1" fmla="*/ 4033861 w 4033861"/>
              <a:gd name="connsiteY1" fmla="*/ 1859426 h 1859426"/>
              <a:gd name="connsiteX2" fmla="*/ 4033861 w 4033861"/>
              <a:gd name="connsiteY2" fmla="*/ 1859426 h 1859426"/>
              <a:gd name="connsiteX0" fmla="*/ 0 w 4033861"/>
              <a:gd name="connsiteY0" fmla="*/ 0 h 1859436"/>
              <a:gd name="connsiteX1" fmla="*/ 4033861 w 4033861"/>
              <a:gd name="connsiteY1" fmla="*/ 1859426 h 1859436"/>
              <a:gd name="connsiteX2" fmla="*/ 4033861 w 4033861"/>
              <a:gd name="connsiteY2" fmla="*/ 1859426 h 1859436"/>
              <a:gd name="connsiteX0" fmla="*/ 0 w 4033861"/>
              <a:gd name="connsiteY0" fmla="*/ 0 h 1859436"/>
              <a:gd name="connsiteX1" fmla="*/ 4033861 w 4033861"/>
              <a:gd name="connsiteY1" fmla="*/ 1859426 h 1859436"/>
              <a:gd name="connsiteX2" fmla="*/ 4033861 w 4033861"/>
              <a:gd name="connsiteY2" fmla="*/ 1859426 h 1859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033861" h="1859436">
                <a:moveTo>
                  <a:pt x="0" y="0"/>
                </a:moveTo>
                <a:cubicBezTo>
                  <a:pt x="1695227" y="406646"/>
                  <a:pt x="1789347" y="1863913"/>
                  <a:pt x="4033861" y="1859426"/>
                </a:cubicBezTo>
                <a:lnTo>
                  <a:pt x="4033861" y="1859426"/>
                </a:lnTo>
              </a:path>
            </a:pathLst>
          </a:custGeom>
          <a:ln w="28575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4FEB0D6-2FA2-D60F-D2D3-4E030BD00641}"/>
              </a:ext>
            </a:extLst>
          </p:cNvPr>
          <p:cNvSpPr/>
          <p:nvPr/>
        </p:nvSpPr>
        <p:spPr>
          <a:xfrm>
            <a:off x="6488936" y="2915181"/>
            <a:ext cx="610364" cy="281640"/>
          </a:xfrm>
          <a:prstGeom prst="rect">
            <a:avLst/>
          </a:prstGeom>
          <a:solidFill>
            <a:schemeClr val="accent6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Risk Appetite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09ED8306-4933-63F7-8D3B-65DAD98040BC}"/>
              </a:ext>
            </a:extLst>
          </p:cNvPr>
          <p:cNvCxnSpPr>
            <a:cxnSpLocks/>
            <a:stCxn id="64" idx="2"/>
          </p:cNvCxnSpPr>
          <p:nvPr/>
        </p:nvCxnSpPr>
        <p:spPr>
          <a:xfrm flipH="1">
            <a:off x="6488936" y="3196821"/>
            <a:ext cx="305182" cy="277409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AEC99D76-0BC9-3D55-4E49-5E967702E4FC}"/>
              </a:ext>
            </a:extLst>
          </p:cNvPr>
          <p:cNvGrpSpPr/>
          <p:nvPr/>
        </p:nvGrpSpPr>
        <p:grpSpPr>
          <a:xfrm>
            <a:off x="569965" y="1432621"/>
            <a:ext cx="2996554" cy="2866595"/>
            <a:chOff x="563848" y="1362771"/>
            <a:chExt cx="2996554" cy="2866595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0979D8AF-2BE1-3638-23A1-91CE3D0E395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63848" y="1369916"/>
              <a:ext cx="2703289" cy="2857069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2AFF76B6-F5DE-EAB1-3D64-501A71B27B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8261" t="-200" r="-149" b="200"/>
            <a:stretch/>
          </p:blipFill>
          <p:spPr>
            <a:xfrm>
              <a:off x="3128078" y="1362771"/>
              <a:ext cx="432324" cy="2866595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122285A-6B9C-6985-172C-395E29492305}"/>
                </a:ext>
              </a:extLst>
            </p:cNvPr>
            <p:cNvSpPr/>
            <p:nvPr/>
          </p:nvSpPr>
          <p:spPr>
            <a:xfrm>
              <a:off x="2928321" y="1390650"/>
              <a:ext cx="603073" cy="15527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19" dirty="0"/>
                <a:t>ROC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B807A4C-FF3D-AFB7-DF7C-6494C8AAB3CC}"/>
                </a:ext>
              </a:extLst>
            </p:cNvPr>
            <p:cNvSpPr/>
            <p:nvPr/>
          </p:nvSpPr>
          <p:spPr>
            <a:xfrm>
              <a:off x="2928321" y="1643400"/>
              <a:ext cx="603073" cy="1806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10" b="1" dirty="0">
                  <a:solidFill>
                    <a:schemeClr val="tx1"/>
                  </a:solidFill>
                </a:rPr>
                <a:t>322%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6DA7F1E3-840E-24AC-F2FD-2CBC855DEB22}"/>
                </a:ext>
              </a:extLst>
            </p:cNvPr>
            <p:cNvSpPr/>
            <p:nvPr/>
          </p:nvSpPr>
          <p:spPr>
            <a:xfrm>
              <a:off x="2948413" y="1900397"/>
              <a:ext cx="582982" cy="2855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10" b="1" dirty="0">
                  <a:solidFill>
                    <a:schemeClr val="tx1"/>
                  </a:solidFill>
                </a:rPr>
                <a:t>192%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07DCB3E-8076-0C60-0CA3-E78A3F3A803C}"/>
                </a:ext>
              </a:extLst>
            </p:cNvPr>
            <p:cNvSpPr/>
            <p:nvPr/>
          </p:nvSpPr>
          <p:spPr>
            <a:xfrm>
              <a:off x="2947932" y="2222288"/>
              <a:ext cx="582982" cy="2815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10" b="1">
                  <a:solidFill>
                    <a:schemeClr val="tx1"/>
                  </a:solidFill>
                </a:rPr>
                <a:t>165%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4B31A50-E375-46C1-DC85-BF6B2EB7F613}"/>
                </a:ext>
              </a:extLst>
            </p:cNvPr>
            <p:cNvSpPr/>
            <p:nvPr/>
          </p:nvSpPr>
          <p:spPr>
            <a:xfrm>
              <a:off x="2928321" y="2543594"/>
              <a:ext cx="582983" cy="4663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10" b="1">
                  <a:solidFill>
                    <a:schemeClr val="tx1"/>
                  </a:solidFill>
                </a:rPr>
                <a:t>75%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671BD7F9-4083-FCB5-ECB8-616EBD946159}"/>
                </a:ext>
              </a:extLst>
            </p:cNvPr>
            <p:cNvSpPr/>
            <p:nvPr/>
          </p:nvSpPr>
          <p:spPr>
            <a:xfrm>
              <a:off x="2946767" y="3033875"/>
              <a:ext cx="582982" cy="46630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10" b="1" dirty="0">
                  <a:solidFill>
                    <a:schemeClr val="tx1"/>
                  </a:solidFill>
                </a:rPr>
                <a:t>58%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69FA2A1-B779-1079-2FE6-2C81EC68E4CF}"/>
                </a:ext>
              </a:extLst>
            </p:cNvPr>
            <p:cNvSpPr/>
            <p:nvPr/>
          </p:nvSpPr>
          <p:spPr>
            <a:xfrm>
              <a:off x="2947350" y="3520920"/>
              <a:ext cx="582399" cy="2368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10" b="1">
                  <a:solidFill>
                    <a:schemeClr val="tx1"/>
                  </a:solidFill>
                </a:rPr>
                <a:t>52%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7DFBAE0C-9D7A-F40B-D9CF-DCE98E622127}"/>
                </a:ext>
              </a:extLst>
            </p:cNvPr>
            <p:cNvSpPr/>
            <p:nvPr/>
          </p:nvSpPr>
          <p:spPr>
            <a:xfrm>
              <a:off x="2946767" y="3774048"/>
              <a:ext cx="582399" cy="2341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10" b="1">
                  <a:solidFill>
                    <a:schemeClr val="tx1"/>
                  </a:solidFill>
                </a:rPr>
                <a:t>41%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8B990A2-357C-982C-DBE3-7C55D75733A5}"/>
                </a:ext>
              </a:extLst>
            </p:cNvPr>
            <p:cNvSpPr/>
            <p:nvPr/>
          </p:nvSpPr>
          <p:spPr>
            <a:xfrm>
              <a:off x="2946767" y="4035518"/>
              <a:ext cx="582399" cy="17443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10" b="1">
                  <a:solidFill>
                    <a:schemeClr val="tx1"/>
                  </a:solidFill>
                </a:rPr>
                <a:t>25%</a:t>
              </a:r>
            </a:p>
          </p:txBody>
        </p:sp>
      </p:grp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A107008F-4A7F-027D-92ED-EF1E49CC1174}"/>
              </a:ext>
            </a:extLst>
          </p:cNvPr>
          <p:cNvSpPr/>
          <p:nvPr/>
        </p:nvSpPr>
        <p:spPr>
          <a:xfrm flipH="1">
            <a:off x="3625519" y="2915181"/>
            <a:ext cx="591290" cy="764879"/>
          </a:xfrm>
          <a:prstGeom prst="rightArrow">
            <a:avLst>
              <a:gd name="adj1" fmla="val 50000"/>
              <a:gd name="adj2" fmla="val 53521"/>
            </a:avLst>
          </a:prstGeom>
          <a:solidFill>
            <a:schemeClr val="accent5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19"/>
          </a:p>
        </p:txBody>
      </p:sp>
    </p:spTree>
    <p:extLst>
      <p:ext uri="{BB962C8B-B14F-4D97-AF65-F5344CB8AC3E}">
        <p14:creationId xmlns:p14="http://schemas.microsoft.com/office/powerpoint/2010/main" val="3659053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95629A-A0EE-A333-5B22-E81DB0A554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60" y="1338900"/>
            <a:ext cx="4024240" cy="917665"/>
          </a:xfrm>
        </p:spPr>
        <p:txBody>
          <a:bodyPr/>
          <a:lstStyle/>
          <a:p>
            <a:r>
              <a:rPr lang="en-US" dirty="0"/>
              <a:t>Measuring Risk in Cloud Infrastructure &amp; Cybersecur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AFF13F-663B-BE7E-E69C-6161A0928D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rayon + Hubbard Decision Research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E0F6B63-55F6-9AEE-D87C-D1F52F02E094}"/>
              </a:ext>
            </a:extLst>
          </p:cNvPr>
          <p:cNvGrpSpPr/>
          <p:nvPr/>
        </p:nvGrpSpPr>
        <p:grpSpPr>
          <a:xfrm>
            <a:off x="5364088" y="2808369"/>
            <a:ext cx="3271533" cy="1243457"/>
            <a:chOff x="5054997" y="2868679"/>
            <a:chExt cx="3271533" cy="1243457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6B2A84-E10D-D490-ED61-BD426A826E56}"/>
                </a:ext>
              </a:extLst>
            </p:cNvPr>
            <p:cNvSpPr txBox="1"/>
            <p:nvPr/>
          </p:nvSpPr>
          <p:spPr>
            <a:xfrm>
              <a:off x="6364082" y="3224944"/>
              <a:ext cx="196244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714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E6E4D9"/>
                  </a:solidFill>
                  <a:effectLst/>
                  <a:uLnTx/>
                  <a:uFillTx/>
                  <a:latin typeface="Arial Nova Light"/>
                  <a:ea typeface="+mn-ea"/>
                  <a:cs typeface="+mn-cs"/>
                </a:rPr>
                <a:t>Douglas Hubbard</a:t>
              </a:r>
            </a:p>
            <a:p>
              <a:pPr marL="0" marR="0" lvl="0" indent="0" algn="l" defTabSz="1714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6B4D"/>
                  </a:solidFill>
                  <a:effectLst/>
                  <a:uLnTx/>
                  <a:uFillTx/>
                  <a:latin typeface="Arial Nova Light"/>
                  <a:ea typeface="+mn-ea"/>
                  <a:cs typeface="+mn-cs"/>
                </a:rPr>
                <a:t>President</a:t>
              </a:r>
            </a:p>
            <a:p>
              <a:pPr marL="0" marR="0" lvl="0" indent="0" algn="l" defTabSz="1714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6B4D"/>
                  </a:solidFill>
                  <a:effectLst/>
                  <a:uLnTx/>
                  <a:uFillTx/>
                  <a:latin typeface="Arial Nova Light"/>
                  <a:ea typeface="+mn-ea"/>
                  <a:cs typeface="+mn-cs"/>
                </a:rPr>
                <a:t>Hubbard Decision Research</a:t>
              </a: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B6C6F0EA-4AF9-3B26-1449-85B1629C0E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4997" y="2868679"/>
              <a:ext cx="1240367" cy="124345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2F1ED"/>
                </a:solidFill>
                <a:effectLst/>
                <a:uLnTx/>
                <a:uFillTx/>
                <a:latin typeface="Arial Nova Light"/>
                <a:ea typeface="+mn-ea"/>
                <a:cs typeface="+mn-cs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024B879-4516-3985-8CF2-560F639757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5094486" y="2911446"/>
              <a:ext cx="1161388" cy="1161388"/>
            </a:xfrm>
            <a:prstGeom prst="ellipse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6937C83-2D3F-5855-6E23-53D568ACF953}"/>
              </a:ext>
            </a:extLst>
          </p:cNvPr>
          <p:cNvGrpSpPr/>
          <p:nvPr/>
        </p:nvGrpSpPr>
        <p:grpSpPr>
          <a:xfrm>
            <a:off x="5364088" y="1275819"/>
            <a:ext cx="3271533" cy="1243457"/>
            <a:chOff x="1539551" y="2868676"/>
            <a:chExt cx="3271533" cy="1243457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4161C8B-A71C-5558-9377-844F12AF8669}"/>
                </a:ext>
              </a:extLst>
            </p:cNvPr>
            <p:cNvSpPr txBox="1"/>
            <p:nvPr/>
          </p:nvSpPr>
          <p:spPr>
            <a:xfrm>
              <a:off x="2848635" y="3224945"/>
              <a:ext cx="1962449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714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E6E4D9"/>
                  </a:solidFill>
                  <a:effectLst/>
                  <a:uLnTx/>
                  <a:uFillTx/>
                  <a:latin typeface="Arial Nova Light"/>
                  <a:ea typeface="+mn-ea"/>
                  <a:cs typeface="+mn-cs"/>
                </a:rPr>
                <a:t>Jon Roulston</a:t>
              </a:r>
            </a:p>
            <a:p>
              <a:pPr marL="0" marR="0" lvl="0" indent="0" algn="l" defTabSz="1714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6B4D"/>
                  </a:solidFill>
                  <a:effectLst/>
                  <a:uLnTx/>
                  <a:uFillTx/>
                  <a:latin typeface="Arial Nova Light"/>
                  <a:ea typeface="+mn-ea"/>
                  <a:cs typeface="+mn-cs"/>
                </a:rPr>
                <a:t>Technical Solution Sales Executive </a:t>
              </a:r>
            </a:p>
            <a:p>
              <a:pPr marL="0" marR="0" lvl="0" indent="0" algn="l" defTabSz="1714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6B4D"/>
                  </a:solidFill>
                  <a:effectLst/>
                  <a:uLnTx/>
                  <a:uFillTx/>
                  <a:latin typeface="Arial Nova Light"/>
                  <a:ea typeface="+mn-ea"/>
                  <a:cs typeface="+mn-cs"/>
                </a:rPr>
                <a:t>Crayon US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CEAFBF01-D6A2-B74F-9FAC-1A68FF76E0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9551" y="2868676"/>
              <a:ext cx="1240367" cy="124345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2F1ED"/>
                </a:solidFill>
                <a:effectLst/>
                <a:uLnTx/>
                <a:uFillTx/>
                <a:latin typeface="Arial Nova Light"/>
                <a:ea typeface="+mn-ea"/>
                <a:cs typeface="+mn-cs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3DD6D74-FB51-9015-2E66-C05516AA5E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/>
            <a:stretch/>
          </p:blipFill>
          <p:spPr>
            <a:xfrm>
              <a:off x="1578487" y="2909157"/>
              <a:ext cx="1162493" cy="1162492"/>
            </a:xfrm>
            <a:prstGeom prst="ellipse">
              <a:avLst/>
            </a:prstGeom>
          </p:spPr>
        </p:pic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C6A64E1C-CF4B-256C-E0FC-AF5E17A517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176" y="4723158"/>
            <a:ext cx="1181729" cy="389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94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BAFC254-BB37-4024-B9FE-16626FAF66B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5000"/>
          </a:blip>
          <a:srcRect l="7792" t="3521" r="7790" b="20435"/>
          <a:stretch/>
        </p:blipFill>
        <p:spPr>
          <a:xfrm>
            <a:off x="1" y="1"/>
            <a:ext cx="9144000" cy="51435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1C4128B-BC53-4600-9E2E-47621D2B929B}"/>
              </a:ext>
            </a:extLst>
          </p:cNvPr>
          <p:cNvSpPr/>
          <p:nvPr/>
        </p:nvSpPr>
        <p:spPr>
          <a:xfrm>
            <a:off x="0" y="1019176"/>
            <a:ext cx="9144000" cy="2924174"/>
          </a:xfrm>
          <a:prstGeom prst="rect">
            <a:avLst/>
          </a:prstGeom>
          <a:solidFill>
            <a:srgbClr val="E5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BC29A1-CD7D-3256-B715-7A03797219E3}"/>
              </a:ext>
            </a:extLst>
          </p:cNvPr>
          <p:cNvGrpSpPr/>
          <p:nvPr/>
        </p:nvGrpSpPr>
        <p:grpSpPr>
          <a:xfrm>
            <a:off x="700536" y="2481263"/>
            <a:ext cx="7742927" cy="1015746"/>
            <a:chOff x="700536" y="1437474"/>
            <a:chExt cx="7742927" cy="1015746"/>
          </a:xfrm>
        </p:grpSpPr>
        <p:sp>
          <p:nvSpPr>
            <p:cNvPr id="7" name="Title 1">
              <a:extLst>
                <a:ext uri="{FF2B5EF4-FFF2-40B4-BE49-F238E27FC236}">
                  <a16:creationId xmlns:a16="http://schemas.microsoft.com/office/drawing/2014/main" id="{6FA07C1A-6FBF-4827-86F9-E0A6C87F64C4}"/>
                </a:ext>
              </a:extLst>
            </p:cNvPr>
            <p:cNvSpPr txBox="1">
              <a:spLocks/>
            </p:cNvSpPr>
            <p:nvPr/>
          </p:nvSpPr>
          <p:spPr>
            <a:xfrm>
              <a:off x="700536" y="1437474"/>
              <a:ext cx="7742927" cy="660158"/>
            </a:xfrm>
            <a:prstGeom prst="rect">
              <a:avLst/>
            </a:prstGeom>
          </p:spPr>
          <p:txBody>
            <a:bodyPr vert="horz" lIns="45720" tIns="22860" rIns="45720" bIns="22860" rtlCol="0" anchor="t">
              <a:noAutofit/>
            </a:bodyPr>
            <a:lstStyle>
              <a:lvl1pPr algn="l" defTabSz="685628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2800" b="1" kern="1200">
                  <a:solidFill>
                    <a:srgbClr val="E5E3D9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68562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C222C"/>
                  </a:solidFill>
                  <a:effectLst/>
                  <a:uLnTx/>
                  <a:uFillTx/>
                  <a:latin typeface="Arial Nova Light"/>
                  <a:ea typeface="+mj-ea"/>
                  <a:cs typeface="+mj-cs"/>
                </a:rPr>
                <a:t>Slides and demos from the conference will be available at</a:t>
              </a:r>
            </a:p>
          </p:txBody>
        </p:sp>
        <p:sp>
          <p:nvSpPr>
            <p:cNvPr id="8" name="Subtitle 2">
              <a:extLst>
                <a:ext uri="{FF2B5EF4-FFF2-40B4-BE49-F238E27FC236}">
                  <a16:creationId xmlns:a16="http://schemas.microsoft.com/office/drawing/2014/main" id="{7CD19BFF-8AF7-4E7B-AB58-B0166F9313AD}"/>
                </a:ext>
              </a:extLst>
            </p:cNvPr>
            <p:cNvSpPr txBox="1">
              <a:spLocks/>
            </p:cNvSpPr>
            <p:nvPr/>
          </p:nvSpPr>
          <p:spPr>
            <a:xfrm>
              <a:off x="700536" y="2050068"/>
              <a:ext cx="7742926" cy="403152"/>
            </a:xfrm>
            <a:prstGeom prst="rect">
              <a:avLst/>
            </a:prstGeom>
          </p:spPr>
          <p:txBody>
            <a:bodyPr/>
            <a:lstStyle>
              <a:lvl1pPr marL="103940" indent="-103940" algn="l" defTabSz="685628" rtl="0" eaLnBrk="1" latinLnBrk="0" hangingPunct="1">
                <a:lnSpc>
                  <a:spcPct val="97000"/>
                </a:lnSpc>
                <a:spcBef>
                  <a:spcPts val="18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rgbClr val="094E5D"/>
                  </a:solidFill>
                  <a:latin typeface="+mn-lt"/>
                  <a:ea typeface="+mn-ea"/>
                  <a:cs typeface="+mn-cs"/>
                </a:defRPr>
              </a:lvl1pPr>
              <a:lvl2pPr marL="252000" indent="-103940" algn="l" defTabSz="685628" rtl="0" eaLnBrk="1" latinLnBrk="0" hangingPunct="1">
                <a:lnSpc>
                  <a:spcPct val="97000"/>
                </a:lnSpc>
                <a:spcBef>
                  <a:spcPts val="450"/>
                </a:spcBef>
                <a:buClr>
                  <a:schemeClr val="accent3"/>
                </a:buClr>
                <a:buFont typeface="Arial" panose="020B0604020202020204" pitchFamily="34" charset="0"/>
                <a:buChar char="•"/>
                <a:defRPr sz="1200" kern="1200">
                  <a:solidFill>
                    <a:srgbClr val="094E5D"/>
                  </a:solidFill>
                  <a:latin typeface="+mn-lt"/>
                  <a:ea typeface="+mn-ea"/>
                  <a:cs typeface="+mn-cs"/>
                </a:defRPr>
              </a:lvl2pPr>
              <a:lvl3pPr marL="432000" indent="-103940" algn="l" defTabSz="685628" rtl="0" eaLnBrk="1" latinLnBrk="0" hangingPunct="1">
                <a:lnSpc>
                  <a:spcPct val="97000"/>
                </a:lnSpc>
                <a:spcBef>
                  <a:spcPts val="450"/>
                </a:spcBef>
                <a:buClr>
                  <a:schemeClr val="accent3"/>
                </a:buClr>
                <a:buFont typeface="Arial" panose="020B0604020202020204" pitchFamily="34" charset="0"/>
                <a:buChar char="•"/>
                <a:defRPr sz="1200" kern="1200">
                  <a:solidFill>
                    <a:srgbClr val="094E5D"/>
                  </a:solidFill>
                  <a:latin typeface="+mn-lt"/>
                  <a:ea typeface="+mn-ea"/>
                  <a:cs typeface="+mn-cs"/>
                </a:defRPr>
              </a:lvl3pPr>
              <a:lvl4pPr marL="612000" indent="-103940" algn="l" defTabSz="685628" rtl="0" eaLnBrk="1" latinLnBrk="0" hangingPunct="1">
                <a:lnSpc>
                  <a:spcPct val="97000"/>
                </a:lnSpc>
                <a:spcBef>
                  <a:spcPts val="450"/>
                </a:spcBef>
                <a:buClr>
                  <a:schemeClr val="accent3"/>
                </a:buClr>
                <a:buFont typeface="Arial" panose="020B0604020202020204" pitchFamily="34" charset="0"/>
                <a:buChar char="•"/>
                <a:defRPr sz="1200" kern="1200">
                  <a:solidFill>
                    <a:srgbClr val="094E5D"/>
                  </a:solidFill>
                  <a:latin typeface="+mn-lt"/>
                  <a:ea typeface="+mn-ea"/>
                  <a:cs typeface="+mn-cs"/>
                </a:defRPr>
              </a:lvl4pPr>
              <a:lvl5pPr marL="792000" indent="-103940" algn="l" defTabSz="685628" rtl="0" eaLnBrk="1" latinLnBrk="0" hangingPunct="1">
                <a:lnSpc>
                  <a:spcPct val="97000"/>
                </a:lnSpc>
                <a:spcBef>
                  <a:spcPts val="450"/>
                </a:spcBef>
                <a:buClr>
                  <a:schemeClr val="accent3"/>
                </a:buClr>
                <a:buFont typeface="Arial" panose="020B0604020202020204" pitchFamily="34" charset="0"/>
                <a:buChar char="•"/>
                <a:defRPr sz="1200" kern="1200">
                  <a:solidFill>
                    <a:srgbClr val="094E5D"/>
                  </a:solidFill>
                  <a:latin typeface="+mn-lt"/>
                  <a:ea typeface="+mn-ea"/>
                  <a:cs typeface="+mn-cs"/>
                </a:defRPr>
              </a:lvl5pPr>
              <a:lvl6pPr marL="1885478" indent="-171407" algn="l" defTabSz="685628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293" indent="-171407" algn="l" defTabSz="685628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107" indent="-171407" algn="l" defTabSz="685628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3922" indent="-171407" algn="l" defTabSz="685628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628" rtl="0" eaLnBrk="1" fontAlgn="auto" latinLnBrk="0" hangingPunct="1">
                <a:lnSpc>
                  <a:spcPct val="97000"/>
                </a:lnSpc>
                <a:spcBef>
                  <a:spcPts val="18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6A4C"/>
                  </a:solidFill>
                  <a:effectLst/>
                  <a:uLnTx/>
                  <a:uFillTx/>
                  <a:latin typeface="Arial Nova Light"/>
                  <a:ea typeface="+mn-ea"/>
                  <a:cs typeface="+mn-cs"/>
                </a:rPr>
                <a:t>https://github.com/nordicinfrastructureconference/2022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E96C18D-DBD3-9942-0C99-754ED1F70235}"/>
              </a:ext>
            </a:extLst>
          </p:cNvPr>
          <p:cNvGrpSpPr/>
          <p:nvPr/>
        </p:nvGrpSpPr>
        <p:grpSpPr>
          <a:xfrm>
            <a:off x="2529246" y="1366676"/>
            <a:ext cx="4085508" cy="691515"/>
            <a:chOff x="2529246" y="1366676"/>
            <a:chExt cx="4085508" cy="691515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CA75C94-C00F-4D5A-EE8A-088F7C91851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2529246" y="1389947"/>
              <a:ext cx="1961433" cy="644975"/>
            </a:xfrm>
            <a:prstGeom prst="rect">
              <a:avLst/>
            </a:prstGeom>
          </p:spPr>
        </p:pic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4B246018-2A65-0C00-DE97-DD72D664C9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/>
            <a:srcRect/>
            <a:stretch/>
          </p:blipFill>
          <p:spPr bwMode="auto">
            <a:xfrm>
              <a:off x="4938354" y="1366676"/>
              <a:ext cx="1676400" cy="6915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269445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364FBF-FBF3-4D88-840E-C16CA30698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60" y="2112917"/>
            <a:ext cx="3725548" cy="917665"/>
          </a:xfrm>
        </p:spPr>
        <p:txBody>
          <a:bodyPr/>
          <a:lstStyle/>
          <a:p>
            <a:r>
              <a:rPr lang="en-US" dirty="0"/>
              <a:t>Cybersecurity in the Modern Ag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B15EFE-3089-0672-CF8F-E17FA5BD42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735" r="17735"/>
          <a:stretch/>
        </p:blipFill>
        <p:spPr>
          <a:xfrm>
            <a:off x="4752975" y="1"/>
            <a:ext cx="439102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23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EC9886-49D2-E31E-0979-C0A08A8163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ybersecurity Statistic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8B97D0-BAE1-2521-B64D-973A7D92CC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ybersecurity in the Modern Ag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1C2BBB7-76E8-36B8-4E50-D4FB6D0C87F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60" y="2571750"/>
            <a:ext cx="3725548" cy="1777353"/>
          </a:xfrm>
        </p:spPr>
        <p:txBody>
          <a:bodyPr/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2021 was one of the most active years for attacks increasing </a:t>
            </a:r>
            <a:r>
              <a:rPr lang="en-US" sz="14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0%</a:t>
            </a:r>
            <a:r>
              <a:rPr lang="en-US" sz="1400" dirty="0"/>
              <a:t> YoY – Check Point Research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Average cost of data breach increased form </a:t>
            </a:r>
            <a:r>
              <a:rPr lang="en-US" sz="14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$3.86MM to $4.24MM</a:t>
            </a:r>
            <a:r>
              <a:rPr lang="en-US" sz="1400" b="1" dirty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*</a:t>
            </a:r>
            <a:endParaRPr lang="en-US" sz="1400" dirty="0">
              <a:solidFill>
                <a:schemeClr val="bg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C77847-6715-327B-4910-E1410FBC1D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907" r="7289"/>
          <a:stretch/>
        </p:blipFill>
        <p:spPr>
          <a:xfrm>
            <a:off x="4719710" y="1266618"/>
            <a:ext cx="4062340" cy="279593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32BADE1-30C2-2BF4-AB20-2AF0785EBD82}"/>
              </a:ext>
            </a:extLst>
          </p:cNvPr>
          <p:cNvSpPr txBox="1"/>
          <p:nvPr/>
        </p:nvSpPr>
        <p:spPr>
          <a:xfrm>
            <a:off x="547760" y="4548872"/>
            <a:ext cx="442429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chemeClr val="bg2"/>
                </a:solidFill>
              </a:rPr>
              <a:t>* </a:t>
            </a:r>
            <a:r>
              <a:rPr lang="en-US" sz="900" dirty="0" err="1">
                <a:solidFill>
                  <a:schemeClr val="bg2"/>
                </a:solidFill>
              </a:rPr>
              <a:t>Ponemon</a:t>
            </a:r>
            <a:r>
              <a:rPr lang="en-US" sz="900" dirty="0">
                <a:solidFill>
                  <a:schemeClr val="bg2"/>
                </a:solidFill>
              </a:rPr>
              <a:t> </a:t>
            </a:r>
            <a:r>
              <a:rPr lang="en-US" sz="900" dirty="0" err="1">
                <a:solidFill>
                  <a:schemeClr val="bg2"/>
                </a:solidFill>
              </a:rPr>
              <a:t>Institue</a:t>
            </a:r>
            <a:r>
              <a:rPr lang="en-US" sz="900" dirty="0">
                <a:solidFill>
                  <a:schemeClr val="bg2"/>
                </a:solidFill>
              </a:rPr>
              <a:t>/IBM Research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3044E88-8639-1509-8EEA-1115A7374F8B}"/>
              </a:ext>
            </a:extLst>
          </p:cNvPr>
          <p:cNvGrpSpPr/>
          <p:nvPr/>
        </p:nvGrpSpPr>
        <p:grpSpPr>
          <a:xfrm>
            <a:off x="6854196" y="4723158"/>
            <a:ext cx="2181855" cy="389182"/>
            <a:chOff x="5644521" y="4723158"/>
            <a:chExt cx="2181855" cy="38918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4C71BE3-30A0-88C2-EA06-81FFEA6F17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4521" y="4723158"/>
              <a:ext cx="1181729" cy="389182"/>
            </a:xfrm>
            <a:prstGeom prst="rect">
              <a:avLst/>
            </a:prstGeom>
          </p:spPr>
        </p:pic>
        <p:pic>
          <p:nvPicPr>
            <p:cNvPr id="1026" name="Picture 2" descr="Risk Modeling and Management | Quantitative Decision Analysis | Value  Measurements of Intangibles">
              <a:extLst>
                <a:ext uri="{FF2B5EF4-FFF2-40B4-BE49-F238E27FC236}">
                  <a16:creationId xmlns:a16="http://schemas.microsoft.com/office/drawing/2014/main" id="{21DE7797-748B-B854-C8D6-CD9C77B470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250" y="4799331"/>
              <a:ext cx="1000126" cy="236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6883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88704EEC-D926-85EB-DB65-F9D5D89D9D1D}"/>
              </a:ext>
            </a:extLst>
          </p:cNvPr>
          <p:cNvSpPr txBox="1">
            <a:spLocks/>
          </p:cNvSpPr>
          <p:nvPr/>
        </p:nvSpPr>
        <p:spPr>
          <a:xfrm>
            <a:off x="488934" y="636174"/>
            <a:ext cx="8048481" cy="476147"/>
          </a:xfrm>
          <a:prstGeom prst="rect">
            <a:avLst/>
          </a:prstGeom>
        </p:spPr>
        <p:txBody>
          <a:bodyPr/>
          <a:lstStyle>
            <a:lvl1pPr algn="l" defTabSz="6856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rgbClr val="094E5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2"/>
                </a:solidFill>
              </a:rPr>
              <a:t>Cloud Proliferation &amp; Distributed Workforc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4DA16F3-264B-806B-1084-E5EA3319E4F3}"/>
              </a:ext>
            </a:extLst>
          </p:cNvPr>
          <p:cNvSpPr txBox="1">
            <a:spLocks/>
          </p:cNvSpPr>
          <p:nvPr/>
        </p:nvSpPr>
        <p:spPr>
          <a:xfrm>
            <a:off x="488935" y="398968"/>
            <a:ext cx="8048482" cy="286554"/>
          </a:xfrm>
          <a:prstGeom prst="rect">
            <a:avLst/>
          </a:prstGeom>
        </p:spPr>
        <p:txBody>
          <a:bodyPr/>
          <a:lstStyle>
            <a:lvl1pPr marL="103937" indent="-103937" algn="l" defTabSz="685611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1pPr>
            <a:lvl2pPr marL="251994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2pPr>
            <a:lvl3pPr marL="431990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3pPr>
            <a:lvl4pPr marL="611985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4pPr>
            <a:lvl5pPr marL="791981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5pPr>
            <a:lvl6pPr marL="1885431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37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043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849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50" dirty="0">
                <a:solidFill>
                  <a:schemeClr val="accent1"/>
                </a:solidFill>
              </a:rPr>
              <a:t>CYBERSECURITY IN THE MODERN AG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7B9CAB-51B4-05ED-B518-D0445F414634}"/>
              </a:ext>
            </a:extLst>
          </p:cNvPr>
          <p:cNvGrpSpPr/>
          <p:nvPr/>
        </p:nvGrpSpPr>
        <p:grpSpPr>
          <a:xfrm>
            <a:off x="6854196" y="4723158"/>
            <a:ext cx="2181855" cy="389182"/>
            <a:chOff x="5644521" y="4723158"/>
            <a:chExt cx="2181855" cy="389182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D033B47-BB19-2C33-ACA5-82FEEB18375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4521" y="4723158"/>
              <a:ext cx="1181729" cy="389182"/>
            </a:xfrm>
            <a:prstGeom prst="rect">
              <a:avLst/>
            </a:prstGeom>
          </p:spPr>
        </p:pic>
        <p:pic>
          <p:nvPicPr>
            <p:cNvPr id="14" name="Picture 2" descr="Risk Modeling and Management | Quantitative Decision Analysis | Value  Measurements of Intangibles">
              <a:extLst>
                <a:ext uri="{FF2B5EF4-FFF2-40B4-BE49-F238E27FC236}">
                  <a16:creationId xmlns:a16="http://schemas.microsoft.com/office/drawing/2014/main" id="{F80EEA3A-7147-8274-0CCD-4AEEF342DD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250" y="4799331"/>
              <a:ext cx="1000126" cy="236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45878D64-A7EE-33BE-142B-4D0EEB617029}"/>
              </a:ext>
            </a:extLst>
          </p:cNvPr>
          <p:cNvSpPr txBox="1"/>
          <p:nvPr/>
        </p:nvSpPr>
        <p:spPr>
          <a:xfrm>
            <a:off x="488934" y="1614226"/>
            <a:ext cx="3827034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Datacenter expansion to cloud</a:t>
            </a:r>
          </a:p>
          <a:p>
            <a:pPr marL="742950" lvl="1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Legacy controls fall short</a:t>
            </a:r>
          </a:p>
          <a:p>
            <a:pPr marL="742950" lvl="1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Rapidly expanding footprint</a:t>
            </a:r>
          </a:p>
          <a:p>
            <a:pPr lvl="1">
              <a:buClr>
                <a:schemeClr val="accent1"/>
              </a:buClr>
            </a:pPr>
            <a:endParaRPr lang="en-US" sz="1400" dirty="0">
              <a:solidFill>
                <a:schemeClr val="bg2"/>
              </a:solidFill>
            </a:endParaRP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More Cloud Services</a:t>
            </a:r>
          </a:p>
          <a:p>
            <a:pPr marL="742950" lvl="1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Business Operations (not just IT)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bg2"/>
              </a:solidFill>
            </a:endParaRP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COVID-19 Accelerates Remote Work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bg2"/>
              </a:solidFill>
            </a:endParaRP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Limited hardware availability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bg2"/>
              </a:solidFill>
            </a:endParaRP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Rise in BYOD</a:t>
            </a: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 err="1">
              <a:solidFill>
                <a:schemeClr val="bg2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E6E3DC-7D03-15FD-6978-DA4B383B9DD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6721" r="13119"/>
          <a:stretch/>
        </p:blipFill>
        <p:spPr>
          <a:xfrm>
            <a:off x="5346177" y="1471189"/>
            <a:ext cx="2579874" cy="289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489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88704EEC-D926-85EB-DB65-F9D5D89D9D1D}"/>
              </a:ext>
            </a:extLst>
          </p:cNvPr>
          <p:cNvSpPr txBox="1">
            <a:spLocks/>
          </p:cNvSpPr>
          <p:nvPr/>
        </p:nvSpPr>
        <p:spPr>
          <a:xfrm>
            <a:off x="488934" y="636174"/>
            <a:ext cx="8048481" cy="476147"/>
          </a:xfrm>
          <a:prstGeom prst="rect">
            <a:avLst/>
          </a:prstGeom>
        </p:spPr>
        <p:txBody>
          <a:bodyPr/>
          <a:lstStyle>
            <a:lvl1pPr algn="l" defTabSz="6856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rgbClr val="094E5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2"/>
                </a:solidFill>
              </a:rPr>
              <a:t>Common Cyber Attacks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4DA16F3-264B-806B-1084-E5EA3319E4F3}"/>
              </a:ext>
            </a:extLst>
          </p:cNvPr>
          <p:cNvSpPr txBox="1">
            <a:spLocks/>
          </p:cNvSpPr>
          <p:nvPr/>
        </p:nvSpPr>
        <p:spPr>
          <a:xfrm>
            <a:off x="488935" y="398968"/>
            <a:ext cx="8048482" cy="286554"/>
          </a:xfrm>
          <a:prstGeom prst="rect">
            <a:avLst/>
          </a:prstGeom>
        </p:spPr>
        <p:txBody>
          <a:bodyPr/>
          <a:lstStyle>
            <a:lvl1pPr marL="103937" indent="-103937" algn="l" defTabSz="685611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1pPr>
            <a:lvl2pPr marL="251994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2pPr>
            <a:lvl3pPr marL="431990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3pPr>
            <a:lvl4pPr marL="611985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4pPr>
            <a:lvl5pPr marL="791981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5pPr>
            <a:lvl6pPr marL="1885431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37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043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849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50" dirty="0">
                <a:solidFill>
                  <a:schemeClr val="accent1"/>
                </a:solidFill>
              </a:rPr>
              <a:t>CYBERSECURITY IN THE MODERN AG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ED2AF3B-D03E-4F08-2C74-B50E5E364A77}"/>
              </a:ext>
            </a:extLst>
          </p:cNvPr>
          <p:cNvSpPr/>
          <p:nvPr/>
        </p:nvSpPr>
        <p:spPr>
          <a:xfrm>
            <a:off x="547759" y="1498711"/>
            <a:ext cx="3910518" cy="275529"/>
          </a:xfrm>
          <a:prstGeom prst="rect">
            <a:avLst/>
          </a:prstGeom>
          <a:solidFill>
            <a:srgbClr val="0B30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Ransomwar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24C041-2618-E9AF-76E3-1622130250A1}"/>
              </a:ext>
            </a:extLst>
          </p:cNvPr>
          <p:cNvSpPr/>
          <p:nvPr/>
        </p:nvSpPr>
        <p:spPr>
          <a:xfrm>
            <a:off x="547759" y="1890671"/>
            <a:ext cx="3910518" cy="275529"/>
          </a:xfrm>
          <a:prstGeom prst="rect">
            <a:avLst/>
          </a:prstGeom>
          <a:solidFill>
            <a:srgbClr val="0B30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wa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63CD536-CB16-EBC2-2A40-029872ABEF99}"/>
              </a:ext>
            </a:extLst>
          </p:cNvPr>
          <p:cNvSpPr/>
          <p:nvPr/>
        </p:nvSpPr>
        <p:spPr>
          <a:xfrm>
            <a:off x="547759" y="2282631"/>
            <a:ext cx="3910518" cy="275529"/>
          </a:xfrm>
          <a:prstGeom prst="rect">
            <a:avLst/>
          </a:prstGeom>
          <a:solidFill>
            <a:srgbClr val="0B30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Phish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3788DC-BB29-8214-7BD6-3676D27060AF}"/>
              </a:ext>
            </a:extLst>
          </p:cNvPr>
          <p:cNvSpPr/>
          <p:nvPr/>
        </p:nvSpPr>
        <p:spPr>
          <a:xfrm>
            <a:off x="547759" y="2672114"/>
            <a:ext cx="3910518" cy="275529"/>
          </a:xfrm>
          <a:prstGeom prst="rect">
            <a:avLst/>
          </a:prstGeom>
          <a:solidFill>
            <a:srgbClr val="0B30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  <a:p>
            <a:pPr algn="ctr" defTabSz="914400"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DoS/DDoS (denial of service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5F4BB04-A146-ACC0-D29E-8F9C31B50F8E}"/>
              </a:ext>
            </a:extLst>
          </p:cNvPr>
          <p:cNvSpPr/>
          <p:nvPr/>
        </p:nvSpPr>
        <p:spPr>
          <a:xfrm>
            <a:off x="547759" y="3058394"/>
            <a:ext cx="3910518" cy="275529"/>
          </a:xfrm>
          <a:prstGeom prst="rect">
            <a:avLst/>
          </a:prstGeom>
          <a:solidFill>
            <a:srgbClr val="0B30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SQL Injec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CC0828-A829-DBF4-8621-DB23F7EF3823}"/>
              </a:ext>
            </a:extLst>
          </p:cNvPr>
          <p:cNvSpPr/>
          <p:nvPr/>
        </p:nvSpPr>
        <p:spPr>
          <a:xfrm>
            <a:off x="547759" y="3450354"/>
            <a:ext cx="3910518" cy="275529"/>
          </a:xfrm>
          <a:prstGeom prst="rect">
            <a:avLst/>
          </a:prstGeom>
          <a:solidFill>
            <a:srgbClr val="0B30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ITM (man-in-the-middle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DFD365-2255-3F75-1E76-AC287B3A92C2}"/>
              </a:ext>
            </a:extLst>
          </p:cNvPr>
          <p:cNvSpPr/>
          <p:nvPr/>
        </p:nvSpPr>
        <p:spPr>
          <a:xfrm>
            <a:off x="547759" y="3842314"/>
            <a:ext cx="3910518" cy="275529"/>
          </a:xfrm>
          <a:prstGeom prst="rect">
            <a:avLst/>
          </a:prstGeom>
          <a:solidFill>
            <a:srgbClr val="0B30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Password Attack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61183D-C161-D1D4-72F7-BB16F6406495}"/>
              </a:ext>
            </a:extLst>
          </p:cNvPr>
          <p:cNvSpPr/>
          <p:nvPr/>
        </p:nvSpPr>
        <p:spPr>
          <a:xfrm>
            <a:off x="547759" y="4231797"/>
            <a:ext cx="3910518" cy="275529"/>
          </a:xfrm>
          <a:prstGeom prst="rect">
            <a:avLst/>
          </a:prstGeom>
          <a:solidFill>
            <a:srgbClr val="0B30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XSS (cross-site-scripting)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7B9CAB-51B4-05ED-B518-D0445F414634}"/>
              </a:ext>
            </a:extLst>
          </p:cNvPr>
          <p:cNvGrpSpPr/>
          <p:nvPr/>
        </p:nvGrpSpPr>
        <p:grpSpPr>
          <a:xfrm>
            <a:off x="6854196" y="4723158"/>
            <a:ext cx="2181855" cy="389182"/>
            <a:chOff x="5644521" y="4723158"/>
            <a:chExt cx="2181855" cy="389182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D033B47-BB19-2C33-ACA5-82FEEB18375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4521" y="4723158"/>
              <a:ext cx="1181729" cy="389182"/>
            </a:xfrm>
            <a:prstGeom prst="rect">
              <a:avLst/>
            </a:prstGeom>
          </p:spPr>
        </p:pic>
        <p:pic>
          <p:nvPicPr>
            <p:cNvPr id="14" name="Picture 2" descr="Risk Modeling and Management | Quantitative Decision Analysis | Value  Measurements of Intangibles">
              <a:extLst>
                <a:ext uri="{FF2B5EF4-FFF2-40B4-BE49-F238E27FC236}">
                  <a16:creationId xmlns:a16="http://schemas.microsoft.com/office/drawing/2014/main" id="{F80EEA3A-7147-8274-0CCD-4AEEF342DD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250" y="4799331"/>
              <a:ext cx="1000126" cy="236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C6A4E42-970D-CD7F-619D-A2B927E5946B}"/>
              </a:ext>
            </a:extLst>
          </p:cNvPr>
          <p:cNvGrpSpPr/>
          <p:nvPr/>
        </p:nvGrpSpPr>
        <p:grpSpPr>
          <a:xfrm>
            <a:off x="5939451" y="1608862"/>
            <a:ext cx="1829489" cy="2834756"/>
            <a:chOff x="6904448" y="1500361"/>
            <a:chExt cx="1829489" cy="2834756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1CDB514-725C-8724-F12E-3AA53BA565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904448" y="1500361"/>
              <a:ext cx="1829489" cy="2834756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BFF22E0E-99BA-89F8-280E-64A456D4854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904448" y="1500361"/>
              <a:ext cx="1829489" cy="28347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986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EC9886-49D2-E31E-0979-C0A08A8163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tacks are Evolv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8B97D0-BAE1-2521-B64D-973A7D92CC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ybersecurity in the Modern Ag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31648BF-8B92-951C-C672-1E0E4E645D51}"/>
              </a:ext>
            </a:extLst>
          </p:cNvPr>
          <p:cNvSpPr/>
          <p:nvPr/>
        </p:nvSpPr>
        <p:spPr>
          <a:xfrm>
            <a:off x="547760" y="2266090"/>
            <a:ext cx="4024240" cy="864095"/>
          </a:xfrm>
          <a:prstGeom prst="rect">
            <a:avLst/>
          </a:prstGeom>
          <a:solidFill>
            <a:srgbClr val="0A4F5C">
              <a:alpha val="30000"/>
            </a:srgbClr>
          </a:solidFill>
          <a:ln w="12700" cap="flat" cmpd="sng" algn="ctr">
            <a:solidFill>
              <a:srgbClr val="FF6B4D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207200E-1FAE-17C8-6E0E-CE40AAD853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14377" y="2456632"/>
            <a:ext cx="483010" cy="483010"/>
          </a:xfrm>
          <a:prstGeom prst="rect">
            <a:avLst/>
          </a:prstGeom>
        </p:spPr>
      </p:pic>
      <p:sp>
        <p:nvSpPr>
          <p:cNvPr id="11" name="object 5">
            <a:extLst>
              <a:ext uri="{FF2B5EF4-FFF2-40B4-BE49-F238E27FC236}">
                <a16:creationId xmlns:a16="http://schemas.microsoft.com/office/drawing/2014/main" id="{9DA957A2-AEEC-F6BD-6ADE-1C1CD1B649C0}"/>
              </a:ext>
            </a:extLst>
          </p:cNvPr>
          <p:cNvSpPr txBox="1"/>
          <p:nvPr/>
        </p:nvSpPr>
        <p:spPr>
          <a:xfrm>
            <a:off x="1419225" y="2483161"/>
            <a:ext cx="3364916" cy="429953"/>
          </a:xfrm>
          <a:prstGeom prst="rect">
            <a:avLst/>
          </a:prstGeom>
        </p:spPr>
        <p:txBody>
          <a:bodyPr vert="horz" wrap="square" lIns="0" tIns="16855" rIns="0" bIns="0" rtlCol="0" anchor="t">
            <a:spAutoFit/>
          </a:bodyPr>
          <a:lstStyle/>
          <a:p>
            <a:pPr marL="12065" marR="0" lvl="0" indent="0" defTabSz="910127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-6" normalizeH="0" baseline="0" noProof="0" dirty="0">
                <a:ln>
                  <a:noFill/>
                </a:ln>
                <a:solidFill>
                  <a:srgbClr val="FF6A4C"/>
                </a:solidFill>
                <a:effectLst/>
                <a:uLnTx/>
                <a:uFillTx/>
                <a:latin typeface="Arial Nova Light"/>
                <a:ea typeface="+mn-ea"/>
                <a:cs typeface="Calibri"/>
              </a:rPr>
              <a:t>Targets</a:t>
            </a:r>
          </a:p>
          <a:p>
            <a:pPr marL="12065" marR="0" lvl="0" indent="0" defTabSz="910127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-6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 Nova Light"/>
                <a:ea typeface="+mn-ea"/>
                <a:cs typeface="Calibri Light"/>
              </a:rPr>
              <a:t>Cloud </a:t>
            </a:r>
            <a:r>
              <a:rPr kumimoji="0" lang="en-AU" sz="1200" b="0" i="0" u="none" strike="noStrike" kern="1200" cap="none" spc="-6" normalizeH="0" baseline="0" noProof="0" dirty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ova Light"/>
                <a:ea typeface="+mn-ea"/>
                <a:cs typeface="Calibri Light"/>
              </a:rPr>
              <a:t> |  </a:t>
            </a:r>
            <a:r>
              <a:rPr kumimoji="0" lang="en-AU" sz="1200" b="0" i="0" u="none" strike="noStrike" kern="1200" cap="none" spc="-6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 Nova Light"/>
                <a:ea typeface="+mn-ea"/>
                <a:cs typeface="Calibri Light"/>
              </a:rPr>
              <a:t>Connected Services  </a:t>
            </a:r>
            <a:r>
              <a:rPr kumimoji="0" lang="en-AU" sz="1200" b="0" i="0" u="none" strike="noStrike" kern="1200" cap="none" spc="-6" normalizeH="0" baseline="0" noProof="0" dirty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ova Light"/>
                <a:ea typeface="+mn-ea"/>
                <a:cs typeface="Calibri Light"/>
              </a:rPr>
              <a:t> |  </a:t>
            </a:r>
            <a:r>
              <a:rPr kumimoji="0" lang="en-AU" sz="1200" b="0" i="0" u="none" strike="noStrike" kern="1200" cap="none" spc="-6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 Nova Light"/>
                <a:ea typeface="+mn-ea"/>
                <a:cs typeface="Calibri Light"/>
              </a:rPr>
              <a:t>Individual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 Nova Light"/>
              <a:ea typeface="+mn-ea"/>
              <a:cs typeface="Calibri Ligh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79B8A8C-AA90-4E04-A21D-1EFB409CCD6A}"/>
              </a:ext>
            </a:extLst>
          </p:cNvPr>
          <p:cNvSpPr/>
          <p:nvPr/>
        </p:nvSpPr>
        <p:spPr>
          <a:xfrm>
            <a:off x="542824" y="3333336"/>
            <a:ext cx="4024240" cy="864095"/>
          </a:xfrm>
          <a:prstGeom prst="rect">
            <a:avLst/>
          </a:prstGeom>
          <a:solidFill>
            <a:srgbClr val="0A4F5C">
              <a:alpha val="30000"/>
            </a:srgbClr>
          </a:solidFill>
          <a:ln w="12700" cap="flat" cmpd="sng" algn="ctr">
            <a:solidFill>
              <a:srgbClr val="FF6B4D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8B9194F5-83DC-6AFA-9AE0-862DEA5A619C}"/>
              </a:ext>
            </a:extLst>
          </p:cNvPr>
          <p:cNvSpPr txBox="1"/>
          <p:nvPr/>
        </p:nvSpPr>
        <p:spPr>
          <a:xfrm>
            <a:off x="1419225" y="3550407"/>
            <a:ext cx="3364916" cy="429953"/>
          </a:xfrm>
          <a:prstGeom prst="rect">
            <a:avLst/>
          </a:prstGeom>
        </p:spPr>
        <p:txBody>
          <a:bodyPr vert="horz" wrap="square" lIns="0" tIns="16855" rIns="0" bIns="0" rtlCol="0" anchor="t">
            <a:spAutoFit/>
          </a:bodyPr>
          <a:lstStyle/>
          <a:p>
            <a:pPr marL="0" marR="0" lvl="0" indent="0" defTabSz="910127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-6" normalizeH="0" baseline="0" noProof="0" dirty="0">
                <a:ln>
                  <a:noFill/>
                </a:ln>
                <a:solidFill>
                  <a:srgbClr val="FF6A4C"/>
                </a:solidFill>
                <a:effectLst/>
                <a:uLnTx/>
                <a:uFillTx/>
                <a:latin typeface="Arial Nova Light"/>
                <a:ea typeface="+mn-ea"/>
                <a:cs typeface="Calibri"/>
              </a:rPr>
              <a:t>Techniques</a:t>
            </a:r>
            <a:endParaRPr kumimoji="0" lang="en-AU" sz="1200" b="1" i="0" u="none" strike="noStrike" kern="1200" cap="none" spc="-6" normalizeH="0" baseline="0" noProof="0" dirty="0">
              <a:ln>
                <a:noFill/>
              </a:ln>
              <a:solidFill>
                <a:srgbClr val="FF6A4C"/>
              </a:solidFill>
              <a:effectLst/>
              <a:uLnTx/>
              <a:uFillTx/>
              <a:latin typeface="Arial Nova Light"/>
              <a:ea typeface="+mn-ea"/>
              <a:cs typeface="Calibri"/>
            </a:endParaRPr>
          </a:p>
          <a:p>
            <a:pPr marL="0" marR="0" lvl="0" indent="0" defTabSz="910127" rtl="0" eaLnBrk="1" fontAlgn="auto" latinLnBrk="0" hangingPunct="1">
              <a:lnSpc>
                <a:spcPct val="100000"/>
              </a:lnSpc>
              <a:spcBef>
                <a:spcPts val="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spc="-6" dirty="0">
                <a:solidFill>
                  <a:schemeClr val="bg2"/>
                </a:solidFill>
                <a:latin typeface="Arial Nova Light"/>
                <a:cs typeface="Calibri Light"/>
              </a:rPr>
              <a:t>More sophistication</a:t>
            </a:r>
            <a:r>
              <a:rPr kumimoji="0" lang="en-AU" sz="1200" b="0" i="0" u="none" strike="noStrike" kern="1200" cap="none" spc="-6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 Nova Light"/>
                <a:ea typeface="+mn-ea"/>
                <a:cs typeface="Calibri Light"/>
              </a:rPr>
              <a:t> </a:t>
            </a:r>
            <a:r>
              <a:rPr kumimoji="0" lang="en-AU" sz="1200" b="0" i="0" u="none" strike="noStrike" kern="1200" cap="none" spc="-6" normalizeH="0" baseline="0" noProof="0" dirty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ova Light"/>
                <a:ea typeface="+mn-ea"/>
                <a:cs typeface="Calibri Light"/>
              </a:rPr>
              <a:t> |  </a:t>
            </a:r>
            <a:r>
              <a:rPr kumimoji="0" lang="en-AU" sz="1200" b="0" i="0" u="none" strike="noStrike" kern="1200" cap="none" spc="-6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 Nova Light"/>
                <a:ea typeface="+mn-ea"/>
                <a:cs typeface="Calibri Light"/>
              </a:rPr>
              <a:t>Less ‘brute force”</a:t>
            </a:r>
            <a:endParaRPr kumimoji="0" lang="en-AU" sz="1200" b="0" i="0" u="none" strike="noStrike" kern="1200" cap="none" spc="-6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 Nova Light" panose="020B03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42AB17A-B9E1-EA40-5B9E-75EE0379CA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14377" y="3523878"/>
            <a:ext cx="483010" cy="48301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FC88D33-70E6-CBE2-419E-A10B0914188D}"/>
              </a:ext>
            </a:extLst>
          </p:cNvPr>
          <p:cNvGrpSpPr/>
          <p:nvPr/>
        </p:nvGrpSpPr>
        <p:grpSpPr>
          <a:xfrm>
            <a:off x="6854196" y="4723158"/>
            <a:ext cx="2181855" cy="389182"/>
            <a:chOff x="5644521" y="4723158"/>
            <a:chExt cx="2181855" cy="389182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06EF3434-5F83-2B0F-4472-ACDE82B903E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4521" y="4723158"/>
              <a:ext cx="1181729" cy="389182"/>
            </a:xfrm>
            <a:prstGeom prst="rect">
              <a:avLst/>
            </a:prstGeom>
          </p:spPr>
        </p:pic>
        <p:pic>
          <p:nvPicPr>
            <p:cNvPr id="20" name="Picture 2" descr="Risk Modeling and Management | Quantitative Decision Analysis | Value  Measurements of Intangibles">
              <a:extLst>
                <a:ext uri="{FF2B5EF4-FFF2-40B4-BE49-F238E27FC236}">
                  <a16:creationId xmlns:a16="http://schemas.microsoft.com/office/drawing/2014/main" id="{3615D29E-4A70-7D0F-038A-F8D3BD62CF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250" y="4799331"/>
              <a:ext cx="1000126" cy="236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D332CB4A-805C-AC79-39F9-3FF10E149A7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97112" y="1466811"/>
            <a:ext cx="3038876" cy="2758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369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364FBF-FBF3-4D88-840E-C16CA30698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60" y="2112917"/>
            <a:ext cx="3725548" cy="917665"/>
          </a:xfrm>
        </p:spPr>
        <p:txBody>
          <a:bodyPr/>
          <a:lstStyle/>
          <a:p>
            <a:r>
              <a:rPr lang="en-US" dirty="0"/>
              <a:t>What is the problem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B15EFE-3089-0672-CF8F-E17FA5BD42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190" r="40790"/>
          <a:stretch/>
        </p:blipFill>
        <p:spPr>
          <a:xfrm>
            <a:off x="4752975" y="1"/>
            <a:ext cx="439102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487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88704EEC-D926-85EB-DB65-F9D5D89D9D1D}"/>
              </a:ext>
            </a:extLst>
          </p:cNvPr>
          <p:cNvSpPr txBox="1">
            <a:spLocks/>
          </p:cNvSpPr>
          <p:nvPr/>
        </p:nvSpPr>
        <p:spPr>
          <a:xfrm>
            <a:off x="488934" y="636174"/>
            <a:ext cx="8048481" cy="476147"/>
          </a:xfrm>
          <a:prstGeom prst="rect">
            <a:avLst/>
          </a:prstGeom>
        </p:spPr>
        <p:txBody>
          <a:bodyPr/>
          <a:lstStyle>
            <a:lvl1pPr algn="l" defTabSz="6856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rgbClr val="094E5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2"/>
                </a:solidFill>
              </a:rPr>
              <a:t>Insurance &amp; Complianc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4DA16F3-264B-806B-1084-E5EA3319E4F3}"/>
              </a:ext>
            </a:extLst>
          </p:cNvPr>
          <p:cNvSpPr txBox="1">
            <a:spLocks/>
          </p:cNvSpPr>
          <p:nvPr/>
        </p:nvSpPr>
        <p:spPr>
          <a:xfrm>
            <a:off x="488935" y="398968"/>
            <a:ext cx="8048482" cy="286554"/>
          </a:xfrm>
          <a:prstGeom prst="rect">
            <a:avLst/>
          </a:prstGeom>
        </p:spPr>
        <p:txBody>
          <a:bodyPr/>
          <a:lstStyle>
            <a:lvl1pPr marL="103937" indent="-103937" algn="l" defTabSz="685611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1pPr>
            <a:lvl2pPr marL="251994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2pPr>
            <a:lvl3pPr marL="431990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3pPr>
            <a:lvl4pPr marL="611985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4pPr>
            <a:lvl5pPr marL="791981" indent="-103937" algn="l" defTabSz="685611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94E5D"/>
                </a:solidFill>
                <a:latin typeface="+mn-lt"/>
                <a:ea typeface="+mn-ea"/>
                <a:cs typeface="+mn-cs"/>
              </a:defRPr>
            </a:lvl5pPr>
            <a:lvl6pPr marL="1885431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37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043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849" indent="-171403" algn="l" defTabSz="685611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50" dirty="0">
                <a:solidFill>
                  <a:schemeClr val="accent1"/>
                </a:solidFill>
              </a:rPr>
              <a:t>WHAT IS THE PROBLEM?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7B9CAB-51B4-05ED-B518-D0445F414634}"/>
              </a:ext>
            </a:extLst>
          </p:cNvPr>
          <p:cNvGrpSpPr/>
          <p:nvPr/>
        </p:nvGrpSpPr>
        <p:grpSpPr>
          <a:xfrm>
            <a:off x="6854196" y="4723158"/>
            <a:ext cx="2181855" cy="389182"/>
            <a:chOff x="5644521" y="4723158"/>
            <a:chExt cx="2181855" cy="389182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D033B47-BB19-2C33-ACA5-82FEEB18375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4521" y="4723158"/>
              <a:ext cx="1181729" cy="389182"/>
            </a:xfrm>
            <a:prstGeom prst="rect">
              <a:avLst/>
            </a:prstGeom>
          </p:spPr>
        </p:pic>
        <p:pic>
          <p:nvPicPr>
            <p:cNvPr id="14" name="Picture 2" descr="Risk Modeling and Management | Quantitative Decision Analysis | Value  Measurements of Intangibles">
              <a:extLst>
                <a:ext uri="{FF2B5EF4-FFF2-40B4-BE49-F238E27FC236}">
                  <a16:creationId xmlns:a16="http://schemas.microsoft.com/office/drawing/2014/main" id="{F80EEA3A-7147-8274-0CCD-4AEEF342DD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250" y="4799331"/>
              <a:ext cx="1000126" cy="236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9B82BA35-422F-3DC7-7C1C-0EB48A5D9FF7}"/>
              </a:ext>
            </a:extLst>
          </p:cNvPr>
          <p:cNvSpPr/>
          <p:nvPr/>
        </p:nvSpPr>
        <p:spPr>
          <a:xfrm>
            <a:off x="1075862" y="2525118"/>
            <a:ext cx="3140427" cy="485723"/>
          </a:xfrm>
          <a:prstGeom prst="rect">
            <a:avLst/>
          </a:prstGeom>
          <a:solidFill>
            <a:srgbClr val="073B4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914400"/>
            <a:r>
              <a:rPr lang="en-US" sz="1200" dirty="0">
                <a:solidFill>
                  <a:srgbClr val="E6E4D9"/>
                </a:solidFill>
                <a:latin typeface="Arial Nova" panose="020B0504020202020204" pitchFamily="34" charset="0"/>
              </a:rPr>
              <a:t>Cybersecurity is standard business requiremen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6F4CD29-9CD8-A0C8-BA66-94A7F4AB8DDA}"/>
              </a:ext>
            </a:extLst>
          </p:cNvPr>
          <p:cNvSpPr/>
          <p:nvPr/>
        </p:nvSpPr>
        <p:spPr>
          <a:xfrm>
            <a:off x="1075863" y="3224547"/>
            <a:ext cx="3140425" cy="1146790"/>
          </a:xfrm>
          <a:prstGeom prst="rect">
            <a:avLst/>
          </a:prstGeom>
          <a:solidFill>
            <a:srgbClr val="073B45">
              <a:alpha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22855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E6E4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F1458F4-079F-F86F-8FF7-950E44DDB264}"/>
              </a:ext>
            </a:extLst>
          </p:cNvPr>
          <p:cNvSpPr txBox="1"/>
          <p:nvPr/>
        </p:nvSpPr>
        <p:spPr>
          <a:xfrm>
            <a:off x="1147896" y="3281945"/>
            <a:ext cx="3068392" cy="9233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defTabSz="91440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E6E4D9"/>
                </a:solidFill>
              </a:rPr>
              <a:t>Assessments &amp; Remediation required for underwriting</a:t>
            </a:r>
          </a:p>
          <a:p>
            <a:pPr marL="171450" indent="-171450" defTabSz="91440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E6E4D9"/>
                </a:solidFill>
              </a:rPr>
              <a:t>Providers unwavering on requirements</a:t>
            </a:r>
          </a:p>
          <a:p>
            <a:pPr marL="171450" indent="-171450" defTabSz="91440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E6E4D9"/>
                </a:solidFill>
              </a:rPr>
              <a:t>Data is valuable/mission critical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988A247-56DD-7437-C594-1FDBE18E5FFB}"/>
              </a:ext>
            </a:extLst>
          </p:cNvPr>
          <p:cNvSpPr/>
          <p:nvPr/>
        </p:nvSpPr>
        <p:spPr>
          <a:xfrm>
            <a:off x="4927714" y="2525118"/>
            <a:ext cx="3140427" cy="485723"/>
          </a:xfrm>
          <a:prstGeom prst="rect">
            <a:avLst/>
          </a:prstGeom>
          <a:solidFill>
            <a:srgbClr val="073B45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228557"/>
            <a:r>
              <a:rPr lang="en-US" sz="1200" dirty="0">
                <a:solidFill>
                  <a:srgbClr val="E6E4D9"/>
                </a:solidFill>
                <a:latin typeface="Arial Nova" panose="020B0504020202020204" pitchFamily="34" charset="0"/>
              </a:rPr>
              <a:t>Compliance is no longer only industry mandate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B72ECB0-8D60-0724-E37A-0A3C08A209F6}"/>
              </a:ext>
            </a:extLst>
          </p:cNvPr>
          <p:cNvSpPr/>
          <p:nvPr/>
        </p:nvSpPr>
        <p:spPr>
          <a:xfrm>
            <a:off x="4927714" y="3224547"/>
            <a:ext cx="3140425" cy="1146790"/>
          </a:xfrm>
          <a:prstGeom prst="rect">
            <a:avLst/>
          </a:prstGeom>
          <a:solidFill>
            <a:srgbClr val="073B45">
              <a:alpha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22855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E6E4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94B61B1-9B46-FFB9-E759-6E42C8DFCC40}"/>
              </a:ext>
            </a:extLst>
          </p:cNvPr>
          <p:cNvSpPr txBox="1"/>
          <p:nvPr/>
        </p:nvSpPr>
        <p:spPr>
          <a:xfrm>
            <a:off x="4999747" y="3281945"/>
            <a:ext cx="3068392" cy="75405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defTabSz="91440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E6E4D9"/>
                </a:solidFill>
              </a:rPr>
              <a:t>HIPPA/HITRUST - Healthcare</a:t>
            </a:r>
          </a:p>
          <a:p>
            <a:pPr marL="171450" indent="-171450" defTabSz="91440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E6E4D9"/>
                </a:solidFill>
              </a:rPr>
              <a:t>PCI-DSS/SOX/GLBA - Financial Services</a:t>
            </a:r>
          </a:p>
          <a:p>
            <a:pPr marL="171450" indent="-171450" defTabSz="91440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E6E4D9"/>
                </a:solidFill>
              </a:rPr>
              <a:t>Cost of entry for businesse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2B75146-7177-F5A0-74BB-C9EFC793D60F}"/>
              </a:ext>
            </a:extLst>
          </p:cNvPr>
          <p:cNvSpPr/>
          <p:nvPr/>
        </p:nvSpPr>
        <p:spPr>
          <a:xfrm>
            <a:off x="2188873" y="1464141"/>
            <a:ext cx="914400" cy="9144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000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3D0A516-8C4F-7FD0-1E86-C44140F1A8BB}"/>
              </a:ext>
            </a:extLst>
          </p:cNvPr>
          <p:cNvSpPr/>
          <p:nvPr/>
        </p:nvSpPr>
        <p:spPr>
          <a:xfrm>
            <a:off x="6076743" y="1464141"/>
            <a:ext cx="914400" cy="9144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000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FB28A7C-F15C-889D-F2AA-AEFD5CD00A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41871" y="1620504"/>
            <a:ext cx="601674" cy="601674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4BE38EA6-C3A4-06F0-3D01-7E23189B8F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6233106" y="1620504"/>
            <a:ext cx="601674" cy="601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93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cW1W2x1GGz_wPv_qqM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cW1W2x1GGz_wPv_qqM7Q"/>
</p:tagLst>
</file>

<file path=ppt/theme/theme1.xml><?xml version="1.0" encoding="utf-8"?>
<a:theme xmlns:a="http://schemas.openxmlformats.org/drawingml/2006/main" name="PPT-mal_NIC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Cray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6B4D"/>
      </a:accent1>
      <a:accent2>
        <a:srgbClr val="0C222C"/>
      </a:accent2>
      <a:accent3>
        <a:srgbClr val="0A4F5C"/>
      </a:accent3>
      <a:accent4>
        <a:srgbClr val="F92900"/>
      </a:accent4>
      <a:accent5>
        <a:srgbClr val="246685"/>
      </a:accent5>
      <a:accent6>
        <a:srgbClr val="073B45"/>
      </a:accent6>
      <a:hlink>
        <a:srgbClr val="0563C1"/>
      </a:hlink>
      <a:folHlink>
        <a:srgbClr val="954F72"/>
      </a:folHlink>
    </a:clrScheme>
    <a:fontScheme name="Crayon">
      <a:majorFont>
        <a:latin typeface="Arial Nova Light"/>
        <a:ea typeface=""/>
        <a:cs typeface=""/>
      </a:majorFont>
      <a:minorFont>
        <a:latin typeface="Arial Nova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600">
            <a:solidFill>
              <a:srgbClr val="094E5D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rayon ppt template with examples of use" id="{1318CCD7-27CF-4289-A661-798CA700EEA0}" vid="{A904FFB1-DF8A-4389-9967-EE6C20333875}"/>
    </a:ext>
  </a:extLst>
</a:theme>
</file>

<file path=ppt/theme/theme3.xml><?xml version="1.0" encoding="utf-8"?>
<a:theme xmlns:a="http://schemas.openxmlformats.org/drawingml/2006/main" name="3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6A4C"/>
      </a:accent1>
      <a:accent2>
        <a:srgbClr val="04242D"/>
      </a:accent2>
      <a:accent3>
        <a:srgbClr val="A5A5A5"/>
      </a:accent3>
      <a:accent4>
        <a:srgbClr val="094E5D"/>
      </a:accent4>
      <a:accent5>
        <a:srgbClr val="E6E4D9"/>
      </a:accent5>
      <a:accent6>
        <a:srgbClr val="F2F1ED"/>
      </a:accent6>
      <a:hlink>
        <a:srgbClr val="0563C1"/>
      </a:hlink>
      <a:folHlink>
        <a:srgbClr val="954F72"/>
      </a:folHlink>
    </a:clrScheme>
    <a:fontScheme name="Crayon">
      <a:majorFont>
        <a:latin typeface="Arial Nova Light"/>
        <a:ea typeface=""/>
        <a:cs typeface=""/>
      </a:majorFont>
      <a:minorFont>
        <a:latin typeface="Arial Nova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A596C"/>
        </a:solidFill>
        <a:ln>
          <a:noFill/>
        </a:ln>
      </a:spPr>
      <a:bodyPr rtlCol="0" anchor="t"/>
      <a:lstStyle>
        <a:defPPr algn="l">
          <a:defRPr sz="1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sz="1600">
            <a:solidFill>
              <a:srgbClr val="094E5D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rayon ppt template with examples of use" id="{1318CCD7-27CF-4289-A661-798CA700EEA0}" vid="{A904FFB1-DF8A-4389-9967-EE6C2033387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4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F7C95786-0079-4213-A3B8-267F53C2A143}">
  <we:reference id="f12c312d-282a-4734-8843-05915fdfef0b" version="4.3.3.0" store="EXCatalog" storeType="EXCatalog"/>
  <we:alternateReferences>
    <we:reference id="WA104178141" version="4.3.3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5EC59A92F8E24CA452BB01F2C0D826" ma:contentTypeVersion="4" ma:contentTypeDescription="Create a new document." ma:contentTypeScope="" ma:versionID="704a7aa921fea57e8dd50175dbb04535">
  <xsd:schema xmlns:xsd="http://www.w3.org/2001/XMLSchema" xmlns:xs="http://www.w3.org/2001/XMLSchema" xmlns:p="http://schemas.microsoft.com/office/2006/metadata/properties" xmlns:ns2="abe873f9-b700-4110-9ac2-8b5f86e77f52" targetNamespace="http://schemas.microsoft.com/office/2006/metadata/properties" ma:root="true" ma:fieldsID="a0a632caa3dd46cc010c1ce86a2b017e" ns2:_="">
    <xsd:import namespace="abe873f9-b700-4110-9ac2-8b5f86e77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e873f9-b700-4110-9ac2-8b5f86e77f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2715EE2-FD2D-4F59-8F15-B3F806D1B68F}">
  <ds:schemaRefs>
    <ds:schemaRef ds:uri="abe873f9-b700-4110-9ac2-8b5f86e77f5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99F39AF-6920-45AD-8F1B-CEA1791166E1}">
  <ds:schemaRefs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purl.org/dc/terms/"/>
    <ds:schemaRef ds:uri="http://purl.org/dc/dcmitype/"/>
    <ds:schemaRef ds:uri="abe873f9-b700-4110-9ac2-8b5f86e77f52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332DF7A-79CB-483F-8FE8-0A5E35B4985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mal_NIC.potx</Template>
  <TotalTime>9103</TotalTime>
  <Words>1132</Words>
  <Application>Microsoft Macintosh PowerPoint</Application>
  <PresentationFormat>On-screen Show (16:9)</PresentationFormat>
  <Paragraphs>186</Paragraphs>
  <Slides>20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rial</vt:lpstr>
      <vt:lpstr>Wingdings</vt:lpstr>
      <vt:lpstr>Arial Nova Light</vt:lpstr>
      <vt:lpstr>Verdana</vt:lpstr>
      <vt:lpstr>Arial Nova</vt:lpstr>
      <vt:lpstr>Calibri</vt:lpstr>
      <vt:lpstr>IBM Plex Sans</vt:lpstr>
      <vt:lpstr>PPT-mal_NIC</vt:lpstr>
      <vt:lpstr>1_Office Theme</vt:lpstr>
      <vt:lpstr>3_Office Theme</vt:lpstr>
      <vt:lpstr>think-cell Slide</vt:lpstr>
      <vt:lpstr>PowerPoint Presentation</vt:lpstr>
      <vt:lpstr>Measuring Risk in Cloud Infrastructure &amp; Cybersecurity</vt:lpstr>
      <vt:lpstr>Cybersecurity in the Modern Age</vt:lpstr>
      <vt:lpstr>Cybersecurity Statistics</vt:lpstr>
      <vt:lpstr>PowerPoint Presentation</vt:lpstr>
      <vt:lpstr>PowerPoint Presentation</vt:lpstr>
      <vt:lpstr>Attacks are Evolving</vt:lpstr>
      <vt:lpstr>What is the problem?</vt:lpstr>
      <vt:lpstr>PowerPoint Presentation</vt:lpstr>
      <vt:lpstr>Infrastructure is expensive</vt:lpstr>
      <vt:lpstr>Assessments alone don't provide a full picture</vt:lpstr>
      <vt:lpstr>What is the solution?</vt:lpstr>
      <vt:lpstr>Building Decision Intelligence</vt:lpstr>
      <vt:lpstr>Two Teams,  One Goa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tn</dc:creator>
  <cp:lastModifiedBy>Jon Roulston</cp:lastModifiedBy>
  <cp:revision>45</cp:revision>
  <dcterms:created xsi:type="dcterms:W3CDTF">2012-11-21T10:27:26Z</dcterms:created>
  <dcterms:modified xsi:type="dcterms:W3CDTF">2022-06-05T22:2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5EC59A92F8E24CA452BB01F2C0D826</vt:lpwstr>
  </property>
</Properties>
</file>